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81"/>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952065EB-ACCE-4A63-A7E1-3A8A9B9E7AD7}">
          <p14:sldIdLst>
            <p14:sldId id="2147475169"/>
            <p14:sldId id="2147475170"/>
            <p14:sldId id="2147475171"/>
            <p14:sldId id="2147475172"/>
            <p14:sldId id="2147475173"/>
            <p14:sldId id="2147475174"/>
            <p14:sldId id="2147475175"/>
            <p14:sldId id="2147475176"/>
            <p14:sldId id="2147475177"/>
            <p14:sldId id="2147475178"/>
            <p14:sldId id="2147475179"/>
          </p14:sldIdLst>
        </p14:section>
        <p14:section name="Mix Analysis by Retailer for Region" id="{1B78B456-BF94-4A53-92AF-A0AF02D1C06D}">
          <p14:sldIdLst>
            <p14:sldId id="2147475180"/>
            <p14:sldId id="2147475181"/>
            <p14:sldId id="2147475182"/>
            <p14:sldId id="2147475183"/>
            <p14:sldId id="2147475184"/>
            <p14:sldId id="2147475185"/>
            <p14:sldId id="2147475186"/>
            <p14:sldId id="2147475187"/>
            <p14:sldId id="2147475188"/>
            <p14:sldId id="2147475189"/>
          </p14:sldIdLst>
        </p14:section>
        <p14:section name="Mix Analysis by Retailer for Market" id="{46C6B31B-3DC2-4630-A8E2-039689CDEE90}">
          <p14:sldIdLst>
            <p14:sldId id="2147475190"/>
            <p14:sldId id="2147475191"/>
            <p14:sldId id="2147475192"/>
            <p14:sldId id="2147475193"/>
            <p14:sldId id="2147475194"/>
            <p14:sldId id="2147475195"/>
            <p14:sldId id="2147475196"/>
            <p14:sldId id="2147475197"/>
            <p14:sldId id="2147475198"/>
            <p14:sldId id="2147475199"/>
          </p14:sldIdLst>
        </p14:section>
        <p14:section name="Mix Analysis by Sector" id="{E7006A46-B6F3-473F-AAE7-B645AB56A9CE}">
          <p14:sldIdLst>
            <p14:sldId id="2147475200"/>
            <p14:sldId id="2147475201"/>
            <p14:sldId id="2147475202"/>
            <p14:sldId id="2147475203"/>
            <p14:sldId id="2147475204"/>
            <p14:sldId id="2147475205"/>
            <p14:sldId id="2147475206"/>
            <p14:sldId id="2147475207"/>
          </p14:sldIdLst>
        </p14:section>
        <p14:section name="Mix Analysis by Segment" id="{8BBD0C89-AC71-4C04-BC39-C05286947960}">
          <p14:sldIdLst>
            <p14:sldId id="2147475208"/>
            <p14:sldId id="2147475209"/>
            <p14:sldId id="2147475210"/>
            <p14:sldId id="2147475211"/>
            <p14:sldId id="2147475212"/>
            <p14:sldId id="2147475213"/>
            <p14:sldId id="2147475214"/>
            <p14:sldId id="2147475215"/>
          </p14:sldIdLst>
        </p14:section>
        <p14:section name="Mix Analysis bySKU" id="{6669102C-816E-4341-91FD-9206B44BF38D}">
          <p14:sldIdLst>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Lst>
        </p14:section>
        <p14:section name="Trade Margin Analysis by Sector" id="{E797926A-7041-45A9-BE86-B3ADB04FE56F}">
          <p14:sldIdLst>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Lst>
        </p14:section>
        <p14:section name="Trade Margin Analysis by Segment" id="{3D56E9F5-95E3-4B88-9A32-6E51D1CC4F2C}">
          <p14:sldIdLst>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Lst>
        </p14:section>
        <p14:section name="SKU KPIs Summary By Manufacture" id="{0A830022-6278-4286-96FE-C418C4768D36}">
          <p14:sldIdLst>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Lst>
        </p14:section>
        <p14:section name="SKU KPIs Summary By Brand" id="{43DA7461-3E08-4742-9339-FDFDBC0EC14A}">
          <p14:sldIdLst>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Lst>
        </p14:section>
        <p14:section name="Mix Matrix By Retailer" id="{C7ADBBE1-B195-4A9E-8650-3EC281298A4D}">
          <p14:sldIdLst>
            <p14:sldId id="2147475383"/>
            <p14:sldId id="2147475384"/>
            <p14:sldId id="2147475385"/>
            <p14:sldId id="2147475386"/>
            <p14:sldId id="2147475387"/>
            <p14:sldId id="2147475388"/>
            <p14:sldId id="2147475389"/>
            <p14:sldId id="2147475390"/>
          </p14:sldIdLst>
        </p14:section>
        <p14:section name="Mix Matrix By Custom Region" id="{58D382E1-27C5-48F1-8D04-69C61E8E584A}">
          <p14:sldIdLst>
            <p14:sldId id="2147475391"/>
            <p14:sldId id="2147475392"/>
            <p14:sldId id="2147475393"/>
            <p14:sldId id="2147475394"/>
          </p14:sldIdLst>
        </p14:section>
        <p14:section name="Mix Matrix By Brands by Sector" id="{D68E41EC-1EE2-424B-96FB-A30163501FA9}">
          <p14:sldIdLst>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Lst>
        </p14:section>
        <p14:section name="Mix Matrix By Brands by Segment" id="{7F87DA55-DB80-445B-8B53-F0026C7A0B67}">
          <p14:sldIdLst>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Lst>
        </p14:section>
        <p14:section name="Sector Spending Pool" id="{80C51841-01A9-48D6-809A-1D119CD67C4B}">
          <p14:sldIdLst>
            <p14:sldId id="2147475431"/>
            <p14:sldId id="2147475432"/>
            <p14:sldId id="2147475433"/>
            <p14:sldId id="2147475434"/>
            <p14:sldId id="2147475435"/>
            <p14:sldId id="2147475436"/>
            <p14:sldId id="2147475437"/>
            <p14:sldId id="2147475438"/>
          </p14:sldIdLst>
        </p14:section>
        <p14:section name="Segment Spending Pool" id="{954F9FF9-405E-40A7-BAA3-1F6D1588A62B}">
          <p14:sldIdLst>
            <p14:sldId id="2147475439"/>
            <p14:sldId id="2147475440"/>
            <p14:sldId id="2147475441"/>
            <p14:sldId id="2147475442"/>
            <p14:sldId id="2147475443"/>
            <p14:sldId id="2147475444"/>
            <p14:sldId id="2147475445"/>
            <p14:sldId id="2147475446"/>
          </p14:sldIdLst>
        </p14:section>
        <p14:section name="Product Spending Pool" id="{415A48DD-D0E0-45F3-B10D-E87F95B44769}">
          <p14:sldIdLst>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Lst>
        </p14:section>
        <p14:section name="SKU Profitability" id="{F2E16772-21E8-4DA6-9C93-7AFC64B31B80}">
          <p14:sldIdLst>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Lst>
        </p14:section>
        <p14:section name="Trade Margin Table By Sector" id="{1A4732FC-E1D8-4AE3-9F96-42C1B65B1039}">
          <p14:sldIdLst>
            <p14:sldId id="2147475629"/>
            <p14:sldId id="2147475630"/>
            <p14:sldId id="2147475631"/>
            <p14:sldId id="2147475632"/>
            <p14:sldId id="2147475633"/>
            <p14:sldId id="2147475634"/>
            <p14:sldId id="2147475635"/>
            <p14:sldId id="2147475636"/>
          </p14:sldIdLst>
        </p14:section>
        <p14:section name="Trade Margin Table By Segment" id="{33EA8D69-2E07-4449-A7FB-6CCCD5900D54}">
          <p14:sldIdLst>
            <p14:sldId id="2147475637"/>
            <p14:sldId id="2147475638"/>
            <p14:sldId id="2147475639"/>
            <p14:sldId id="2147475640"/>
            <p14:sldId id="2147475641"/>
            <p14:sldId id="2147475642"/>
            <p14:sldId id="2147475643"/>
            <p14:sldId id="214747564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notesMaster" Target="notesMasters/notesMaster1.xml"/><Relationship Id="rId482" Type="http://schemas.openxmlformats.org/officeDocument/2006/relationships/presProps" Target="presProps.xml"/><Relationship Id="rId483" Type="http://schemas.openxmlformats.org/officeDocument/2006/relationships/viewProps" Target="viewProps.xml"/><Relationship Id="rId484" Type="http://schemas.openxmlformats.org/officeDocument/2006/relationships/theme" Target="theme/theme1.xml"/><Relationship Id="rId485" Type="http://schemas.openxmlformats.org/officeDocument/2006/relationships/tableStyles" Target="tableStyles.xml"/><Relationship Id="rId486" Type="http://schemas.microsoft.com/office/2015/10/relationships/revisionInfo" Target="revisionInfo.xml"/><Relationship Id="rId48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themeOverride" Target="../theme/themeOverride16.xml"/><Relationship Id="rId2"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themeOverride" Target="../theme/themeOverride17.xml"/><Relationship Id="rId2"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themeOverride" Target="../theme/themeOverride18.xml"/><Relationship Id="rId2"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themeOverride" Target="../theme/themeOverride19.xml"/><Relationship Id="rId2"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themeOverride" Target="../theme/themeOverride20.xml"/><Relationship Id="rId2"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themeOverride" Target="../theme/themeOverride21.xml"/><Relationship Id="rId2"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themeOverride" Target="../theme/themeOverride22.xml"/><Relationship Id="rId2"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23.xml"/><Relationship Id="rId2"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24.xml"/><Relationship Id="rId2"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25.xml"/><Relationship Id="rId2"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26.xml"/><Relationship Id="rId2"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themeOverride" Target="../theme/themeOverride27.xml"/><Relationship Id="rId2"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themeOverride" Target="../theme/themeOverride28.xml"/><Relationship Id="rId2"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themeOverride" Target="../theme/themeOverride29.xml"/><Relationship Id="rId2"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themeOverride" Target="../theme/themeOverride30.xml"/><Relationship Id="rId2"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31.xml"/><Relationship Id="rId2"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themeOverride" Target="../theme/themeOverride32.xml"/><Relationship Id="rId2"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33.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themeOverride" Target="../theme/themeOverride34.xml"/><Relationship Id="rId2"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35.xml"/><Relationship Id="rId2"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themeOverride" Target="../theme/themeOverride36.xml"/><Relationship Id="rId2"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themeOverride" Target="../theme/themeOverride37.xml"/><Relationship Id="rId2"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themeOverride" Target="../theme/themeOverride38.xml"/><Relationship Id="rId2"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themeOverride" Target="../theme/themeOverride39.xml"/><Relationship Id="rId2"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themeOverride" Target="../theme/themeOverride40.xml"/><Relationship Id="rId2"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themeOverride" Target="../theme/themeOverride51.xml"/><Relationship Id="rId2"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themeOverride" Target="../theme/themeOverride52.xml"/><Relationship Id="rId2"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themeOverride" Target="../theme/themeOverride53.xml"/><Relationship Id="rId2"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themeOverride" Target="../theme/themeOverride54.xml"/><Relationship Id="rId2"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themeOverride" Target="../theme/themeOverride55.xml"/><Relationship Id="rId2"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themeOverride" Target="../theme/themeOverride56.xml"/><Relationship Id="rId2"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themeOverride" Target="../theme/themeOverride57.xml"/><Relationship Id="rId2"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themeOverride" Target="../theme/themeOverride58.xml"/><Relationship Id="rId2"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themeOverride" Target="../theme/themeOverride59.xml"/><Relationship Id="rId2"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themeOverride" Target="../theme/themeOverride60.xml"/><Relationship Id="rId2"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themeOverride" Target="../theme/themeOverride61.xml"/><Relationship Id="rId2"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themeOverride" Target="../theme/themeOverride62.xml"/><Relationship Id="rId2"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themeOverride" Target="../theme/themeOverride63.xml"/><Relationship Id="rId2"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themeOverride" Target="../theme/themeOverride64.xml"/><Relationship Id="rId2"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themeOverride" Target="../theme/themeOverride65.xml"/><Relationship Id="rId2"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themeOverride" Target="../theme/themeOverride66.xml"/><Relationship Id="rId2"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67.xml"/><Relationship Id="rId2"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68.xml"/><Relationship Id="rId2"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themeOverride" Target="../theme/themeOverride69.xml"/><Relationship Id="rId2"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70.xml"/><Relationship Id="rId2"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71.xml"/><Relationship Id="rId2"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72.xml"/><Relationship Id="rId2"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73E2550-5A1E-4F02-940A-FCBAB880C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A702B45-163F-4A57-8593-980AC949A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4046B10-1047-429E-BD8E-E051E4ED2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E7DA6D4-4B66-4D9B-9840-4FFFB24C2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34377A1-0D2A-4F5A-8510-76872B3AE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6FCC749-7B75-42A8-839D-587349B80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B744C57-622B-403B-837B-2D0EC0B6A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DE5BA66-CAB7-446A-885F-9CB667ABB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9101</c:v>
                </c:pt>
                <c:pt idx="1">
                  <c:v>3.4256</c:v>
                </c:pt>
              </c:numCache>
            </c:numRef>
          </c:xVal>
          <c:yVal>
            <c:numRef>
              <c:f>Sheet1!$B$2:$B$3</c:f>
              <c:numCache>
                <c:formatCode>General</c:formatCode>
                <c:ptCount val="2"/>
                <c:pt idx="0">
                  <c:v>0.6187</c:v>
                </c:pt>
                <c:pt idx="1">
                  <c:v>0.4856</c:v>
                </c:pt>
              </c:numCache>
            </c:numRef>
          </c:yVal>
          <c:bubbleSize>
            <c:numRef>
              <c:f>Sheet1!$C$2:$C$3</c:f>
              <c:numCache>
                <c:formatCode>General</c:formatCode>
                <c:ptCount val="2"/>
                <c:pt idx="0">
                  <c:v>22718806.525000002</c:v>
                </c:pt>
                <c:pt idx="1">
                  <c:v>84765.607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1072"/>
          <c:min val="0.7280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052396925932"/>
        <c:crossBetween val="midCat"/>
      </c:valAx>
      <c:valAx>
        <c:axId val="1011451359"/>
        <c:scaling>
          <c:orientation val="minMax"/>
          <c:max val="1.10244"/>
          <c:min val="0.148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19450635261321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B81038E-09EA-4042-AEF7-DE66D7797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F68316D-5C3E-418E-86EC-2C69E8A4E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A18119D-7CF5-45B2-8851-60798CDEB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F5D82A3-668E-4139-AEC8-F601A02D2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C425015-B130-4B31-9E96-01E619777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37CEF35-0D6F-4498-B4EF-0C6FC3FC3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CEF597E-7649-40B2-8376-D499A6DB9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2EC9EC9-E544-4688-AFA2-EDFB1CA33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67</c:v>
                </c:pt>
                <c:pt idx="1">
                  <c:v>4.7265</c:v>
                </c:pt>
              </c:numCache>
            </c:numRef>
          </c:xVal>
          <c:yVal>
            <c:numRef>
              <c:f>Sheet1!$B$2:$B$3</c:f>
              <c:numCache>
                <c:formatCode>General</c:formatCode>
                <c:ptCount val="2"/>
                <c:pt idx="0">
                  <c:v>0.4444</c:v>
                </c:pt>
                <c:pt idx="1">
                  <c:v>0.3715</c:v>
                </c:pt>
              </c:numCache>
            </c:numRef>
          </c:yVal>
          <c:bubbleSize>
            <c:numRef>
              <c:f>Sheet1!$C$2:$C$3</c:f>
              <c:numCache>
                <c:formatCode>General</c:formatCode>
                <c:ptCount val="2"/>
                <c:pt idx="0">
                  <c:v>3320645.4797999994</c:v>
                </c:pt>
                <c:pt idx="1">
                  <c:v>55007.15530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1.6536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432120751585415"/>
        <c:crossBetween val="midCat"/>
      </c:valAx>
      <c:valAx>
        <c:axId val="1011451359"/>
        <c:scaling>
          <c:orientation val="minMax"/>
          <c:max val="0.89328"/>
          <c:min val="0.0572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1033725810505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6</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17385730995520876</c:v>
                </c:pt>
                <c:pt idx="1">
                  <c:v>0.024008408089558286</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363</c:v>
                </c:pt>
                <c:pt idx="1">
                  <c:v>0.3055</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7</c:v>
                </c:pt>
                <c:pt idx="1">
                  <c:v>1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2498971434602537</c:v>
                </c:pt>
                <c:pt idx="1">
                  <c:v>-0.004573270653436268</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FD30EA6-2829-4A43-AC2B-64BC911D7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B51719C-99B9-4423-917A-D02F07F18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47C6FD2-7DC4-4EA7-851F-AD7EFD33F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B2CBDD7-F729-4909-91DD-649F17CFD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F4A7C96-EB88-4E73-BC1D-86B40409A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ED12D8F-4085-43B1-9210-9779FCEFB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5D5F909-C22B-4B71-B146-4FB41C293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9FB88DD-500C-4F42-B57E-01BE89D75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6663</c:v>
                </c:pt>
                <c:pt idx="1">
                  <c:v>2.2174</c:v>
                </c:pt>
              </c:numCache>
            </c:numRef>
          </c:xVal>
          <c:yVal>
            <c:numRef>
              <c:f>Sheet1!$B$2:$B$3</c:f>
              <c:numCache>
                <c:formatCode>General</c:formatCode>
                <c:ptCount val="2"/>
                <c:pt idx="0">
                  <c:v>0.6929</c:v>
                </c:pt>
                <c:pt idx="1">
                  <c:v>0.7142</c:v>
                </c:pt>
              </c:numCache>
            </c:numRef>
          </c:yVal>
          <c:bubbleSize>
            <c:numRef>
              <c:f>Sheet1!$C$2:$C$3</c:f>
              <c:numCache>
                <c:formatCode>General</c:formatCode>
                <c:ptCount val="2"/>
                <c:pt idx="0">
                  <c:v>5728569.057500001</c:v>
                </c:pt>
                <c:pt idx="1">
                  <c:v>27404.931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66088"/>
          <c:min val="1.333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3001412034819"/>
        <c:crossBetween val="midCat"/>
      </c:valAx>
      <c:valAx>
        <c:axId val="1011451359"/>
        <c:scaling>
          <c:orientation val="minMax"/>
          <c:max val="1.21704"/>
          <c:min val="0.31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892385785862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77</c:v>
                </c:pt>
                <c:pt idx="1">
                  <c:v>0.4363</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1</c:v>
                </c:pt>
                <c:pt idx="1">
                  <c:v>9</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5</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25101744074049026</c:v>
                </c:pt>
                <c:pt idx="1">
                  <c:v>0.07956544916450764</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411</c:v>
                </c:pt>
                <c:pt idx="1">
                  <c:v>0.3478</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6CC8CB1-716D-44FC-A8D6-B4BFCEEDE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ACA49C1-52C4-4001-B15D-4C9BC1A8D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ECF794D-65AE-4AA7-8134-3B110EC71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6F88FEA-1837-4E4C-BA46-C543A04DD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5EE9183-8BA3-40E8-BEBE-C59AF59C7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199E9E6-EFF3-4270-BC66-FA706724C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C89E267-4EAE-41BF-9191-8217F398D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E315029-F644-46B3-8063-76841E128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986</c:v>
                </c:pt>
              </c:numCache>
            </c:numRef>
          </c:xVal>
          <c:yVal>
            <c:numRef>
              <c:f>Sheet1!$B$2:$B$2</c:f>
              <c:numCache>
                <c:formatCode>General</c:formatCode>
                <c:ptCount val="1"/>
                <c:pt idx="0">
                  <c:v>0.604</c:v>
                </c:pt>
              </c:numCache>
            </c:numRef>
          </c:yVal>
          <c:bubbleSize>
            <c:numRef>
              <c:f>Sheet1!$C$2:$C$2</c:f>
              <c:numCache>
                <c:formatCode>General</c:formatCode>
                <c:ptCount val="1"/>
                <c:pt idx="0">
                  <c:v>10147245.1986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5832"/>
          <c:min val="1.43888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4"/>
        <c:crossBetween val="midCat"/>
      </c:valAx>
      <c:valAx>
        <c:axId val="1011451359"/>
        <c:scaling>
          <c:orientation val="minMax"/>
          <c:max val="1.0847999999999998"/>
          <c:min val="0.2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9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7451871007684019</c:v>
                </c:pt>
                <c:pt idx="1">
                  <c:v>-0.0071600315593756125</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14</c:v>
                </c:pt>
                <c:pt idx="1">
                  <c:v>0.4289</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5</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3CE1B85-61A7-4F97-9457-A04537900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81036B4-4940-42E3-85E7-547008CDC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E3B0AE0-B98A-458D-A46A-8E34F43AA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BC0B305-1581-44FE-8587-120C10D51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08E29D1-BAAE-49DF-BA10-A4F175F37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B885032-6921-481C-91AB-0C31A1F1C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EB7AEFF-D272-4D99-A395-3BA4A39CB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8264840-E9E0-4EC8-943E-AE887A72B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248</c:v>
                </c:pt>
              </c:numCache>
            </c:numRef>
          </c:xVal>
          <c:yVal>
            <c:numRef>
              <c:f>Sheet1!$B$2:$B$2</c:f>
              <c:numCache>
                <c:formatCode>General</c:formatCode>
                <c:ptCount val="1"/>
                <c:pt idx="0">
                  <c:v>0.6549</c:v>
                </c:pt>
              </c:numCache>
            </c:numRef>
          </c:yVal>
          <c:bubbleSize>
            <c:numRef>
              <c:f>Sheet1!$C$2:$C$2</c:f>
              <c:numCache>
                <c:formatCode>General</c:formatCode>
                <c:ptCount val="1"/>
                <c:pt idx="0">
                  <c:v>5594958.6237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97599999999998"/>
          <c:min val="1.05984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
        <c:crossBetween val="midCat"/>
      </c:valAx>
      <c:valAx>
        <c:axId val="1011451359"/>
        <c:scaling>
          <c:orientation val="minMax"/>
          <c:max val="1.14588"/>
          <c:min val="0.28392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23369936859692797</c:v>
                </c:pt>
                <c:pt idx="1">
                  <c:v>0.03615498426792002</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479</c:v>
                </c:pt>
                <c:pt idx="1">
                  <c:v>0.3242</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2617775794351185</c:v>
                </c:pt>
                <c:pt idx="1">
                  <c:v>-0.006973958718158368</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82</c:v>
                </c:pt>
                <c:pt idx="1">
                  <c:v>0.4334</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c:v>
                </c:pt>
                <c:pt idx="1">
                  <c:v>1</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7DA8C49-6B6F-416D-BA5B-43A4032C7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F5FA916-8959-4A25-B446-6C8710212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BEDDC62-6CDA-45CE-88EB-13E93FE30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D2BD44B-7D3E-4601-87B3-1ACF87960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ABA807D-7475-4163-BD6E-8E61C3E74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B44D556-BF01-47E4-8CF9-024012A9A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38790A7-036F-4074-94EB-9BE804D56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1239D06-301F-465C-8561-194925F10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6542</c:v>
                </c:pt>
              </c:numCache>
            </c:numRef>
          </c:xVal>
          <c:yVal>
            <c:numRef>
              <c:f>Sheet1!$B$2:$B$2</c:f>
              <c:numCache>
                <c:formatCode>General</c:formatCode>
                <c:ptCount val="1"/>
                <c:pt idx="0">
                  <c:v>0.6296</c:v>
                </c:pt>
              </c:numCache>
            </c:numRef>
          </c:yVal>
          <c:bubbleSize>
            <c:numRef>
              <c:f>Sheet1!$C$2:$C$2</c:f>
              <c:numCache>
                <c:formatCode>General</c:formatCode>
                <c:ptCount val="1"/>
                <c:pt idx="0">
                  <c:v>12656356.5542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78504"/>
          <c:min val="0.523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6"/>
        <c:crossBetween val="midCat"/>
      </c:valAx>
      <c:valAx>
        <c:axId val="1011451359"/>
        <c:scaling>
          <c:orientation val="minMax"/>
          <c:max val="1.1155199999999998"/>
          <c:min val="0.26368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54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2</c:v>
                </c:pt>
                <c:pt idx="1">
                  <c:v>5</c:v>
                </c:pt>
                <c:pt idx="2">
                  <c:v>1</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3159228879583101</c:v>
                </c:pt>
                <c:pt idx="1">
                  <c:v>0.018270508795408702</c:v>
                </c:pt>
                <c:pt idx="2">
                  <c:v>0.008249522707447166</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2815</c:v>
                </c:pt>
                <c:pt idx="1">
                  <c:v>0.3374</c:v>
                </c:pt>
                <c:pt idx="2">
                  <c:v>0.3505</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D51189F-B754-4FAE-BBEB-877D33F71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3F19E1B-E8D1-40F4-8316-48E20526D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9B9D4F4-D3F3-42C9-B964-AB0EA5E6A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1E5CCE0-A2CB-4106-9EEF-379856482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B3A7889-B896-4CD5-9B33-F57A87B07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152609F-F3FB-4A25-B8C8-F9CEE6537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9E933B2-9678-43CE-A156-BFE27C421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BBAD0DD-D552-4BAE-A3DE-5F5608CEB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2956</c:v>
                </c:pt>
              </c:numCache>
            </c:numRef>
          </c:xVal>
          <c:yVal>
            <c:numRef>
              <c:f>Sheet1!$B$2:$B$2</c:f>
              <c:numCache>
                <c:formatCode>General</c:formatCode>
                <c:ptCount val="1"/>
                <c:pt idx="0">
                  <c:v>0.3656</c:v>
                </c:pt>
              </c:numCache>
            </c:numRef>
          </c:yVal>
          <c:bubbleSize>
            <c:numRef>
              <c:f>Sheet1!$C$2:$C$2</c:f>
              <c:numCache>
                <c:formatCode>General</c:formatCode>
                <c:ptCount val="1"/>
                <c:pt idx="0">
                  <c:v>13456423.1585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35472"/>
          <c:min val="0.23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6"/>
        <c:crossBetween val="midCat"/>
      </c:valAx>
      <c:valAx>
        <c:axId val="1011451359"/>
        <c:scaling>
          <c:orientation val="minMax"/>
          <c:max val="0.79872"/>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9</c:v>
                </c:pt>
                <c:pt idx="1">
                  <c:v>19</c:v>
                </c:pt>
                <c:pt idx="2">
                  <c:v>6</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0772450952378495</c:v>
                </c:pt>
                <c:pt idx="1">
                  <c:v>0.001817072786188756</c:v>
                </c:pt>
                <c:pt idx="2">
                  <c:v>0.01543436425986111</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189</c:v>
                </c:pt>
                <c:pt idx="1">
                  <c:v>0.4573</c:v>
                </c:pt>
                <c:pt idx="2">
                  <c:v>0.4884</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8</c:v>
                </c:pt>
                <c:pt idx="1">
                  <c:v>25</c:v>
                </c:pt>
                <c:pt idx="2">
                  <c:v>2</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6</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46FBD3E-D663-4005-ADFE-5EE02F64D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AE04AEB-FDB5-4E7E-A17A-A8D5B259F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CDC8016-814C-43C4-A2A3-474A2FF0C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2D24D3A-65CC-46CE-8200-736B7BA79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A35D44B-1C7C-4C7C-8F10-1DFFACC06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B83F5BA-FD15-4D5A-AE21-4E7B9D024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5367C89-0D24-4200-998C-DA5E9A25C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9B082D2-01E1-4045-95BA-504D077BE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9126</c:v>
                </c:pt>
              </c:numCache>
            </c:numRef>
          </c:xVal>
          <c:yVal>
            <c:numRef>
              <c:f>Sheet1!$B$2:$B$2</c:f>
              <c:numCache>
                <c:formatCode>General</c:formatCode>
                <c:ptCount val="1"/>
                <c:pt idx="0">
                  <c:v>0.6182</c:v>
                </c:pt>
              </c:numCache>
            </c:numRef>
          </c:yVal>
          <c:bubbleSize>
            <c:numRef>
              <c:f>Sheet1!$C$2:$C$2</c:f>
              <c:numCache>
                <c:formatCode>General</c:formatCode>
                <c:ptCount val="1"/>
                <c:pt idx="0">
                  <c:v>22803601.753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951199999999999"/>
          <c:min val="0.7300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
        <c:crossBetween val="midCat"/>
      </c:valAx>
      <c:valAx>
        <c:axId val="1011451359"/>
        <c:scaling>
          <c:orientation val="minMax"/>
          <c:max val="1.10184"/>
          <c:min val="0.254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1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27961370937106433</c:v>
                </c:pt>
                <c:pt idx="1">
                  <c:v>0.017385730995520876</c:v>
                </c:pt>
                <c:pt idx="2">
                  <c:v>0.005034037963472293</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2793</c:v>
                </c:pt>
                <c:pt idx="1">
                  <c:v>0.3363</c:v>
                </c:pt>
                <c:pt idx="2">
                  <c:v>0.346</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8</c:v>
                </c:pt>
                <c:pt idx="1">
                  <c:v>17</c:v>
                </c:pt>
                <c:pt idx="2">
                  <c:v>5</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07232544619173442</c:v>
                </c:pt>
                <c:pt idx="1">
                  <c:v>0.002498971434602537</c:v>
                </c:pt>
                <c:pt idx="2">
                  <c:v>0.015443412482421204</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2</c:v>
                </c:pt>
                <c:pt idx="1">
                  <c:v>0.4577</c:v>
                </c:pt>
                <c:pt idx="2">
                  <c:v>0.4884</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7</c:v>
                </c:pt>
                <c:pt idx="1">
                  <c:v>21</c:v>
                </c:pt>
                <c:pt idx="2">
                  <c:v>2</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E0FDAE6-DE2A-4F70-B0A7-ED0EA26BF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CB6337A-046B-47CE-A165-374E0855C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D1FAFC7-363B-4230-A04C-B6482AD1A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E573D68-1723-4BDC-ABB8-A547D239C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4D641E5-237E-46D7-8B76-FF7179C21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75DFD41-A962-4C94-A97C-E6E7AB6ED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6468A83-AA47-4E41-815A-59AA1B58B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635205D-1393-42DF-B16C-1E05BC3AC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3829</c:v>
                </c:pt>
              </c:numCache>
            </c:numRef>
          </c:xVal>
          <c:yVal>
            <c:numRef>
              <c:f>Sheet1!$B$2:$B$2</c:f>
              <c:numCache>
                <c:formatCode>General</c:formatCode>
                <c:ptCount val="1"/>
                <c:pt idx="0">
                  <c:v>0.4506</c:v>
                </c:pt>
              </c:numCache>
            </c:numRef>
          </c:yVal>
          <c:bubbleSize>
            <c:numRef>
              <c:f>Sheet1!$C$2:$C$2</c:f>
              <c:numCache>
                <c:formatCode>General</c:formatCode>
                <c:ptCount val="1"/>
                <c:pt idx="0">
                  <c:v>19051381.7821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45948"/>
          <c:min val="0.306320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6"/>
        <c:crossBetween val="midCat"/>
      </c:valAx>
      <c:valAx>
        <c:axId val="1011451359"/>
        <c:scaling>
          <c:orientation val="minMax"/>
          <c:max val="0.9007199999999999"/>
          <c:min val="0.1204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2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5</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10101119875946296</c:v>
                </c:pt>
                <c:pt idx="1">
                  <c:v>0.025101744074049026</c:v>
                </c:pt>
                <c:pt idx="2">
                  <c:v>0.028708949419949337</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3172</c:v>
                </c:pt>
                <c:pt idx="1">
                  <c:v>0.3411</c:v>
                </c:pt>
                <c:pt idx="2">
                  <c:v>0.3913</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c:v>
                </c:pt>
                <c:pt idx="1">
                  <c:v>1</c:v>
                </c:pt>
                <c:pt idx="2">
                  <c:v>0</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11591047292314915</c:v>
                </c:pt>
                <c:pt idx="1">
                  <c:v>-0.007451871007684019</c:v>
                </c:pt>
                <c:pt idx="2">
                  <c:v>0.015917185826573144</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08</c:v>
                </c:pt>
                <c:pt idx="1">
                  <c:v>0.4514</c:v>
                </c:pt>
                <c:pt idx="2">
                  <c:v>0.4888</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2</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78D50B6-CDBE-44FA-ADA5-CED4C4544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999595-1EBC-475F-B946-AE24B1FEB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406C133-9258-45CD-84BC-27D25B865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9779496-CBCD-4A60-AE84-D3DDFD709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A2E74A3-74B6-4C80-B3BC-3DC536F80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FE92916-CC10-4DAE-90F3-548002F41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C884AB7-D1E4-4B14-8CE9-E616007E2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D00A932-E5D8-40D1-8E40-54B8B1839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96</c:v>
                </c:pt>
              </c:numCache>
            </c:numRef>
          </c:xVal>
          <c:yVal>
            <c:numRef>
              <c:f>Sheet1!$B$2:$B$2</c:f>
              <c:numCache>
                <c:formatCode>General</c:formatCode>
                <c:ptCount val="1"/>
                <c:pt idx="0">
                  <c:v>0.4513</c:v>
                </c:pt>
              </c:numCache>
            </c:numRef>
          </c:yVal>
          <c:bubbleSize>
            <c:numRef>
              <c:f>Sheet1!$C$2:$C$2</c:f>
              <c:numCache>
                <c:formatCode>General</c:formatCode>
                <c:ptCount val="1"/>
                <c:pt idx="0">
                  <c:v>3733434.35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9552"/>
          <c:min val="1.6636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
        <c:crossBetween val="midCat"/>
      </c:valAx>
      <c:valAx>
        <c:axId val="1011451359"/>
        <c:scaling>
          <c:orientation val="minMax"/>
          <c:max val="0.9015599999999999"/>
          <c:min val="0.12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7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2</c:v>
                </c:pt>
                <c:pt idx="1">
                  <c:v>5</c:v>
                </c:pt>
                <c:pt idx="2">
                  <c:v>1</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33694064819427105</c:v>
                </c:pt>
                <c:pt idx="1">
                  <c:v>0.023369936859692797</c:v>
                </c:pt>
                <c:pt idx="2">
                  <c:v>0.04420109458118249</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2877</c:v>
                </c:pt>
                <c:pt idx="1">
                  <c:v>0.3479</c:v>
                </c:pt>
                <c:pt idx="2">
                  <c:v>0.3891</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1</c:v>
                </c:pt>
                <c:pt idx="1">
                  <c:v>1</c:v>
                </c:pt>
                <c:pt idx="2">
                  <c:v>0</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097294256828101</c:v>
                </c:pt>
                <c:pt idx="1">
                  <c:v>0.002617775794351185</c:v>
                </c:pt>
                <c:pt idx="2">
                  <c:v>0.01477787031208122</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4159</c:v>
                </c:pt>
                <c:pt idx="1">
                  <c:v>0.4582</c:v>
                </c:pt>
                <c:pt idx="2">
                  <c:v>0.4875</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c:v>
                </c:pt>
                <c:pt idx="1">
                  <c:v>2</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523B12E-4D0C-402E-963F-409752300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71443A2-F108-4669-847C-97FD524F7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2F61BB7-BE37-4CA9-A00A-86240FB66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33EB7F2-30AA-4458-84C7-DA9BD21CA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28ED785-E7DF-4180-8BB3-910A0CA72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D66B92F-79D0-475D-B232-8AEBCC8AD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56CB8BA-4C99-451D-8DFE-96B82A918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C5A2A51-1A1F-4CD9-8C87-A1AA1435B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0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1.7272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0.0</c:v>
                </c:pt>
                <c:pt idx="1">
                  <c:v>0.0</c:v>
                </c:pt>
                <c:pt idx="2">
                  <c:v>0.0</c:v>
                </c:pt>
                <c:pt idx="3">
                  <c:v>0.0</c:v>
                </c:pt>
                <c:pt idx="4">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6</c:f>
              <c:strCache>
                <c:ptCount val="5"/>
                <c:pt idx="0">
                  <c:v>Refills</c:v>
                </c:pt>
                <c:pt idx="1">
                  <c:v>Disposables</c:v>
                </c:pt>
                <c:pt idx="2">
                  <c:v>Razors</c:v>
                </c:pt>
                <c:pt idx="3">
                  <c:v>Hybrid</c:v>
                </c:pt>
                <c:pt idx="4">
                  <c:v/>
                </c:pt>
              </c:strCache>
            </c:strRef>
          </c:cat>
          <c:val>
            <c:numRef>
              <c:f>Sheet1!$B$2:$B$6</c:f>
              <c:numCache>
                <c:formatCode>General</c:formatCode>
                <c:ptCount val="5"/>
                <c:pt idx="0">
                  <c:v>2</c:v>
                </c:pt>
                <c:pt idx="1">
                  <c:v>4</c:v>
                </c:pt>
                <c:pt idx="2">
                  <c:v>1</c:v>
                </c:pt>
                <c:pt idx="3">
                  <c:v>0</c:v>
                </c:pt>
                <c:pt idx="4">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0.0</c:v>
                </c:pt>
                <c:pt idx="1">
                  <c:v>0.0</c:v>
                </c:pt>
                <c:pt idx="2">
                  <c:v>0.0</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Refills</c:v>
                </c:pt>
                <c:pt idx="1">
                  <c:v>Disposables</c:v>
                </c:pt>
                <c:pt idx="2">
                  <c:v>Razors</c:v>
                </c:pt>
                <c:pt idx="3">
                  <c:v/>
                </c:pt>
              </c:strCache>
            </c:strRef>
          </c:cat>
          <c:val>
            <c:numRef>
              <c:f>Sheet1!$B$2:$B$5</c:f>
              <c:numCache>
                <c:formatCode>General</c:formatCode>
                <c:ptCount val="4"/>
                <c:pt idx="0">
                  <c:v>1</c:v>
                </c:pt>
                <c:pt idx="1">
                  <c:v>4</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B$2:$B$3</c:f>
              <c:numCache>
                <c:formatCode>General</c:formatCode>
                <c:ptCount val="2"/>
                <c:pt idx="0">
                  <c:v>0.4119</c:v>
                </c:pt>
                <c:pt idx="1">
                  <c:v>1.08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C$2:$C$3</c:f>
              <c:numCache>
                <c:formatCode>General</c:formatCode>
                <c:ptCount val="2"/>
                <c:pt idx="0">
                  <c:v>0.2423</c:v>
                </c:pt>
                <c:pt idx="1">
                  <c:v>0.712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D$2:$D$3</c:f>
              <c:numCache>
                <c:formatCode>General</c:formatCode>
                <c:ptCount val="2"/>
                <c:pt idx="0">
                  <c:v>0.3333</c:v>
                </c:pt>
                <c:pt idx="1">
                  <c:v>0.80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60</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B$2:$B$3</c:f>
              <c:numCache>
                <c:formatCode>General</c:formatCode>
                <c:ptCount val="2"/>
                <c:pt idx="0">
                  <c:v>0.1081</c:v>
                </c:pt>
                <c:pt idx="1">
                  <c:v>0.867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C$2:$C$3</c:f>
              <c:numCache>
                <c:formatCode>General</c:formatCode>
                <c:ptCount val="2"/>
                <c:pt idx="0">
                  <c:v>0.1875</c:v>
                </c:pt>
                <c:pt idx="1">
                  <c:v>0.45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D$2:$D$3</c:f>
              <c:numCache>
                <c:formatCode>General</c:formatCode>
                <c:ptCount val="2"/>
                <c:pt idx="0">
                  <c:v>0.249</c:v>
                </c:pt>
                <c:pt idx="1">
                  <c:v>1.02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4</c:v>
                </c:pt>
                <c:pt idx="1">
                  <c:v>Av Price/Vol 2.35</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B$2:$B$3</c:f>
              <c:numCache>
                <c:formatCode>General</c:formatCode>
                <c:ptCount val="2"/>
                <c:pt idx="0">
                  <c:v>0.4111</c:v>
                </c:pt>
                <c:pt idx="1">
                  <c:v>1.082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C$2:$C$3</c:f>
              <c:numCache>
                <c:formatCode>General</c:formatCode>
                <c:ptCount val="2"/>
                <c:pt idx="0">
                  <c:v>0.246</c:v>
                </c:pt>
                <c:pt idx="1">
                  <c:v>0.71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D$2:$D$3</c:f>
              <c:numCache>
                <c:formatCode>General</c:formatCode>
                <c:ptCount val="2"/>
                <c:pt idx="0">
                  <c:v>0.3329</c:v>
                </c:pt>
                <c:pt idx="1">
                  <c:v>0.79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9</c:v>
                </c:pt>
                <c:pt idx="1">
                  <c:v>Av Price/Vol 2.59</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B$2:$B$3</c:f>
              <c:numCache>
                <c:formatCode>General</c:formatCode>
                <c:ptCount val="2"/>
                <c:pt idx="0">
                  <c:v>0.1103</c:v>
                </c:pt>
                <c:pt idx="1">
                  <c:v>0.86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C$2:$C$3</c:f>
              <c:numCache>
                <c:formatCode>General</c:formatCode>
                <c:ptCount val="2"/>
                <c:pt idx="0">
                  <c:v>0.189</c:v>
                </c:pt>
                <c:pt idx="1">
                  <c:v>0.456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D$2:$D$3</c:f>
              <c:numCache>
                <c:formatCode>General</c:formatCode>
                <c:ptCount val="2"/>
                <c:pt idx="0">
                  <c:v>0.2525</c:v>
                </c:pt>
                <c:pt idx="1">
                  <c:v>1.024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5</c:v>
                </c:pt>
                <c:pt idx="1">
                  <c:v>Av Price/Vol 2.35</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E5A9EB6-6A66-43E5-9DF6-D8A59BF34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CCF6E95-9C83-47E7-BD66-04FCAC1D3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034AE5-DE9F-499F-9302-A86501D48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CEAA2D2-46DF-49C4-8035-941581C93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90B828E-739D-422E-B121-8004E88A5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BAA7A4B-2620-40EC-BF5A-6BED4745A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536EB1B-79C8-4200-91BC-6B111DC79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146DB22-2211-46D0-B897-99C368C93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7914</c:v>
                </c:pt>
                <c:pt idx="1">
                  <c:v>3.4256</c:v>
                </c:pt>
              </c:numCache>
            </c:numRef>
          </c:xVal>
          <c:yVal>
            <c:numRef>
              <c:f>Sheet1!$B$2:$B$3</c:f>
              <c:numCache>
                <c:formatCode>General</c:formatCode>
                <c:ptCount val="2"/>
                <c:pt idx="0">
                  <c:v>0.605</c:v>
                </c:pt>
                <c:pt idx="1">
                  <c:v>0.4856</c:v>
                </c:pt>
              </c:numCache>
            </c:numRef>
          </c:yVal>
          <c:bubbleSize>
            <c:numRef>
              <c:f>Sheet1!$C$2:$C$3</c:f>
              <c:numCache>
                <c:formatCode>General</c:formatCode>
                <c:ptCount val="2"/>
                <c:pt idx="0">
                  <c:v>10062449.9707</c:v>
                </c:pt>
                <c:pt idx="1">
                  <c:v>84765.607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1072"/>
          <c:min val="1.43312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40025821904047"/>
        <c:crossBetween val="midCat"/>
      </c:valAx>
      <c:valAx>
        <c:axId val="1011451359"/>
        <c:scaling>
          <c:orientation val="minMax"/>
          <c:max val="1.086"/>
          <c:min val="0.148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0505142533032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E1C6414-8A4A-4F3C-A528-8F532A1C1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2ED8639-EA8B-4133-AB5D-57C30DF33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B88E889-4FE2-4DB9-AACF-649903DBC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5F4DB1C-2E05-4A7D-A55B-8D2315F0E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277C5CC-0A2A-4EFF-AD3E-2619BB018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7308E4B-DC86-45BD-82E4-390A9E1CC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0CD2078-A8A0-41FD-B8B2-72A5F377B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91599B2-8661-4EEE-A741-DE0C31982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674</c:v>
                </c:pt>
              </c:numCache>
            </c:numRef>
          </c:xVal>
          <c:yVal>
            <c:numRef>
              <c:f>Sheet1!$B$2:$B$2</c:f>
              <c:numCache>
                <c:formatCode>General</c:formatCode>
                <c:ptCount val="1"/>
                <c:pt idx="0">
                  <c:v>0.6929</c:v>
                </c:pt>
              </c:numCache>
            </c:numRef>
          </c:yVal>
          <c:bubbleSize>
            <c:numRef>
              <c:f>Sheet1!$C$2:$C$2</c:f>
              <c:numCache>
                <c:formatCode>General</c:formatCode>
                <c:ptCount val="1"/>
                <c:pt idx="0">
                  <c:v>6413810.8483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0088"/>
          <c:min val="1.3339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9"/>
        <c:crossBetween val="midCat"/>
      </c:valAx>
      <c:valAx>
        <c:axId val="1011451359"/>
        <c:scaling>
          <c:orientation val="minMax"/>
          <c:max val="1.1914799999999999"/>
          <c:min val="0.31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B$2:$B$3</c:f>
              <c:numCache>
                <c:formatCode>General</c:formatCode>
                <c:ptCount val="2"/>
                <c:pt idx="0">
                  <c:v>0.424</c:v>
                </c:pt>
                <c:pt idx="1">
                  <c:v>1.117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C$2:$C$3</c:f>
              <c:numCache>
                <c:formatCode>General</c:formatCode>
                <c:ptCount val="2"/>
                <c:pt idx="0">
                  <c:v>0.22</c:v>
                </c:pt>
                <c:pt idx="1">
                  <c:v>0.65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D$2:$D$3</c:f>
              <c:numCache>
                <c:formatCode>General</c:formatCode>
                <c:ptCount val="2"/>
                <c:pt idx="0">
                  <c:v>0.3333</c:v>
                </c:pt>
                <c:pt idx="1">
                  <c:v>0.94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8</c:v>
                </c:pt>
                <c:pt idx="1">
                  <c:v>Av Price/Vol 2.72</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B$2:$B$3</c:f>
              <c:numCache>
                <c:formatCode>General</c:formatCode>
                <c:ptCount val="2"/>
                <c:pt idx="0">
                  <c:v>0.0906</c:v>
                </c:pt>
                <c:pt idx="1">
                  <c:v>0.87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C$2:$C$3</c:f>
              <c:numCache>
                <c:formatCode>General</c:formatCode>
                <c:ptCount val="2"/>
                <c:pt idx="0">
                  <c:v>0.1769</c:v>
                </c:pt>
                <c:pt idx="1">
                  <c:v>0.466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D$2:$D$3</c:f>
              <c:numCache>
                <c:formatCode>General</c:formatCode>
                <c:ptCount val="2"/>
                <c:pt idx="0">
                  <c:v>0.2201</c:v>
                </c:pt>
                <c:pt idx="1">
                  <c:v>1.00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49</c:v>
                </c:pt>
                <c:pt idx="1">
                  <c:v>Av Price/Vol 2.34</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B$2:$B$3</c:f>
              <c:numCache>
                <c:formatCode>General</c:formatCode>
                <c:ptCount val="2"/>
                <c:pt idx="0">
                  <c:v>0.4108</c:v>
                </c:pt>
                <c:pt idx="1">
                  <c:v>1.12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C$2:$C$3</c:f>
              <c:numCache>
                <c:formatCode>General</c:formatCode>
                <c:ptCount val="2"/>
                <c:pt idx="0">
                  <c:v>0.2185</c:v>
                </c:pt>
                <c:pt idx="1">
                  <c:v>0.63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D$2:$D$3</c:f>
              <c:numCache>
                <c:formatCode>General</c:formatCode>
                <c:ptCount val="2"/>
                <c:pt idx="0">
                  <c:v>0.3358</c:v>
                </c:pt>
                <c:pt idx="1">
                  <c:v>0.84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96</c:v>
                </c:pt>
                <c:pt idx="1">
                  <c:v>Av Price/Vol 2.61</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B$2:$B$3</c:f>
              <c:numCache>
                <c:formatCode>General</c:formatCode>
                <c:ptCount val="2"/>
                <c:pt idx="0">
                  <c:v>0.0998</c:v>
                </c:pt>
                <c:pt idx="1">
                  <c:v>0.864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C$2:$C$3</c:f>
              <c:numCache>
                <c:formatCode>General</c:formatCode>
                <c:ptCount val="2"/>
                <c:pt idx="0">
                  <c:v>0.1816</c:v>
                </c:pt>
                <c:pt idx="1">
                  <c:v>0.45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D$2:$D$3</c:f>
              <c:numCache>
                <c:formatCode>General</c:formatCode>
                <c:ptCount val="2"/>
                <c:pt idx="0">
                  <c:v>0.2379</c:v>
                </c:pt>
                <c:pt idx="1">
                  <c:v>1.011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Vol 0.52</c:v>
                </c:pt>
                <c:pt idx="1">
                  <c:v>Av Price/Vol 2.33</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B$2:$B$4</c:f>
              <c:numCache>
                <c:formatCode>General</c:formatCode>
                <c:ptCount val="3"/>
                <c:pt idx="0">
                  <c:v>1.1553</c:v>
                </c:pt>
                <c:pt idx="1">
                  <c:v>0.4119</c:v>
                </c:pt>
                <c:pt idx="2">
                  <c:v>0.93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C$2:$C$4</c:f>
              <c:numCache>
                <c:formatCode>General</c:formatCode>
                <c:ptCount val="3"/>
                <c:pt idx="0">
                  <c:v>0.5121</c:v>
                </c:pt>
                <c:pt idx="1">
                  <c:v>0.2423</c:v>
                </c:pt>
                <c:pt idx="2">
                  <c:v>1.14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D$2:$D$4</c:f>
              <c:numCache>
                <c:formatCode>General</c:formatCode>
                <c:ptCount val="3"/>
                <c:pt idx="0">
                  <c:v>0.6534</c:v>
                </c:pt>
                <c:pt idx="1">
                  <c:v>0.3333</c:v>
                </c:pt>
                <c:pt idx="2">
                  <c:v>1.12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2</c:v>
                </c:pt>
                <c:pt idx="1">
                  <c:v>Av Price/Vol 0.99</c:v>
                </c:pt>
                <c:pt idx="2">
                  <c:v>Av Price/Vol 3.20</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B$2:$B$4</c:f>
              <c:numCache>
                <c:formatCode>General</c:formatCode>
                <c:ptCount val="3"/>
                <c:pt idx="0">
                  <c:v>0.8617</c:v>
                </c:pt>
                <c:pt idx="1">
                  <c:v>0.1081</c:v>
                </c:pt>
                <c:pt idx="2">
                  <c:v>0.906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C$2:$C$4</c:f>
              <c:numCache>
                <c:formatCode>General</c:formatCode>
                <c:ptCount val="3"/>
                <c:pt idx="0">
                  <c:v>0.3349</c:v>
                </c:pt>
                <c:pt idx="1">
                  <c:v>0.1875</c:v>
                </c:pt>
                <c:pt idx="2">
                  <c:v>1.25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D$2:$D$4</c:f>
              <c:numCache>
                <c:formatCode>General</c:formatCode>
                <c:ptCount val="3"/>
                <c:pt idx="0">
                  <c:v>0.8626</c:v>
                </c:pt>
                <c:pt idx="1">
                  <c:v>0.249</c:v>
                </c:pt>
                <c:pt idx="2">
                  <c:v>2.06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4</c:v>
                </c:pt>
                <c:pt idx="2">
                  <c:v>Av Price/Vol 4.2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B$2:$B$4</c:f>
              <c:numCache>
                <c:formatCode>General</c:formatCode>
                <c:ptCount val="3"/>
                <c:pt idx="0">
                  <c:v>1.1561</c:v>
                </c:pt>
                <c:pt idx="1">
                  <c:v>0.4111</c:v>
                </c:pt>
                <c:pt idx="2">
                  <c:v>0.924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C$2:$C$4</c:f>
              <c:numCache>
                <c:formatCode>General</c:formatCode>
                <c:ptCount val="3"/>
                <c:pt idx="0">
                  <c:v>0.5122</c:v>
                </c:pt>
                <c:pt idx="1">
                  <c:v>0.246</c:v>
                </c:pt>
                <c:pt idx="2">
                  <c:v>1.16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D$2:$D$4</c:f>
              <c:numCache>
                <c:formatCode>General</c:formatCode>
                <c:ptCount val="3"/>
                <c:pt idx="0">
                  <c:v>0.6465</c:v>
                </c:pt>
                <c:pt idx="1">
                  <c:v>0.3329</c:v>
                </c:pt>
                <c:pt idx="2">
                  <c:v>1.10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1</c:v>
                </c:pt>
                <c:pt idx="1">
                  <c:v>Av Price/Vol 0.99</c:v>
                </c:pt>
                <c:pt idx="2">
                  <c:v>Av Price/Vol 3.19</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B$2:$B$4</c:f>
              <c:numCache>
                <c:formatCode>General</c:formatCode>
                <c:ptCount val="3"/>
                <c:pt idx="0">
                  <c:v>0.8618</c:v>
                </c:pt>
                <c:pt idx="1">
                  <c:v>0.1103</c:v>
                </c:pt>
                <c:pt idx="2">
                  <c:v>0.90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C$2:$C$4</c:f>
              <c:numCache>
                <c:formatCode>General</c:formatCode>
                <c:ptCount val="3"/>
                <c:pt idx="0">
                  <c:v>0.3349</c:v>
                </c:pt>
                <c:pt idx="1">
                  <c:v>0.189</c:v>
                </c:pt>
                <c:pt idx="2">
                  <c:v>1.25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D$2:$D$4</c:f>
              <c:numCache>
                <c:formatCode>General</c:formatCode>
                <c:ptCount val="3"/>
                <c:pt idx="0">
                  <c:v>0.8665</c:v>
                </c:pt>
                <c:pt idx="1">
                  <c:v>0.2525</c:v>
                </c:pt>
                <c:pt idx="2">
                  <c:v>2.061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6</c:v>
                </c:pt>
                <c:pt idx="1">
                  <c:v>Av Price/Vol 0.55</c:v>
                </c:pt>
                <c:pt idx="2">
                  <c:v>Av Price/Vol 4.2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B$2:$B$4</c:f>
              <c:numCache>
                <c:formatCode>General</c:formatCode>
                <c:ptCount val="3"/>
                <c:pt idx="0">
                  <c:v>1.1414</c:v>
                </c:pt>
                <c:pt idx="1">
                  <c:v>0.424</c:v>
                </c:pt>
                <c:pt idx="2">
                  <c:v>1.07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C$2:$C$4</c:f>
              <c:numCache>
                <c:formatCode>General</c:formatCode>
                <c:ptCount val="3"/>
                <c:pt idx="0">
                  <c:v>0.511</c:v>
                </c:pt>
                <c:pt idx="1">
                  <c:v>0.22</c:v>
                </c:pt>
                <c:pt idx="2">
                  <c:v>0.94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D$2:$D$4</c:f>
              <c:numCache>
                <c:formatCode>General</c:formatCode>
                <c:ptCount val="3"/>
                <c:pt idx="0">
                  <c:v>0.7675</c:v>
                </c:pt>
                <c:pt idx="1">
                  <c:v>0.3333</c:v>
                </c:pt>
                <c:pt idx="2">
                  <c:v>1.2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42</c:v>
                </c:pt>
                <c:pt idx="1">
                  <c:v>Av Price/Vol 0.98</c:v>
                </c:pt>
                <c:pt idx="2">
                  <c:v>Av Price/Vol 3.3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B$2:$B$4</c:f>
              <c:numCache>
                <c:formatCode>General</c:formatCode>
                <c:ptCount val="3"/>
                <c:pt idx="0">
                  <c:v>0.864</c:v>
                </c:pt>
                <c:pt idx="1">
                  <c:v>0.0906</c:v>
                </c:pt>
                <c:pt idx="2">
                  <c:v>0.90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C$2:$C$4</c:f>
              <c:numCache>
                <c:formatCode>General</c:formatCode>
                <c:ptCount val="3"/>
                <c:pt idx="0">
                  <c:v>0.335</c:v>
                </c:pt>
                <c:pt idx="1">
                  <c:v>0.1769</c:v>
                </c:pt>
                <c:pt idx="2">
                  <c:v>1.25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D$2:$D$4</c:f>
              <c:numCache>
                <c:formatCode>General</c:formatCode>
                <c:ptCount val="3"/>
                <c:pt idx="0">
                  <c:v>0.8264</c:v>
                </c:pt>
                <c:pt idx="1">
                  <c:v>0.2201</c:v>
                </c:pt>
                <c:pt idx="2">
                  <c:v>2.063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2</c:v>
                </c:pt>
                <c:pt idx="1">
                  <c:v>Av Price/Vol 0.49</c:v>
                </c:pt>
                <c:pt idx="2">
                  <c:v>Av Price/Vol 4.2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89AEF46-C840-4040-A822-EC1E9AEFE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EA9886A-8F55-47D6-ACAB-A424A251D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B540BDF-8FEC-4E92-96E7-48A7EFDA1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1991DB-1D5F-4CD0-8BD5-44534D14D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8F0F9D9-030D-401E-BC87-4F0B79676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1908C7B-B6E7-4A58-AD2D-FA47B244F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C0BDC1A-1948-4332-8C0E-5DAFCB4E4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CE80BDF-ED7F-4843-B5AC-815B952A2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65</c:v>
                </c:pt>
              </c:numCache>
            </c:numRef>
          </c:xVal>
          <c:yVal>
            <c:numRef>
              <c:f>Sheet1!$B$2:$B$2</c:f>
              <c:numCache>
                <c:formatCode>General</c:formatCode>
                <c:ptCount val="1"/>
                <c:pt idx="0">
                  <c:v>0.7201</c:v>
                </c:pt>
              </c:numCache>
            </c:numRef>
          </c:yVal>
          <c:bubbleSize>
            <c:numRef>
              <c:f>Sheet1!$C$2:$C$2</c:f>
              <c:numCache>
                <c:formatCode>General</c:formatCode>
                <c:ptCount val="1"/>
                <c:pt idx="0">
                  <c:v>4380267.2446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4357999999999997"/>
          <c:min val="0.957199999999999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
        <c:crossBetween val="midCat"/>
      </c:valAx>
      <c:valAx>
        <c:axId val="1011451359"/>
        <c:scaling>
          <c:orientation val="minMax"/>
          <c:max val="1.2241199999999999"/>
          <c:min val="0.336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B$2:$B$4</c:f>
              <c:numCache>
                <c:formatCode>General</c:formatCode>
                <c:ptCount val="3"/>
                <c:pt idx="0">
                  <c:v>1.1536</c:v>
                </c:pt>
                <c:pt idx="1">
                  <c:v>0.4108</c:v>
                </c:pt>
                <c:pt idx="2">
                  <c:v>1.062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C$2:$C$4</c:f>
              <c:numCache>
                <c:formatCode>General</c:formatCode>
                <c:ptCount val="3"/>
                <c:pt idx="0">
                  <c:v>0.512</c:v>
                </c:pt>
                <c:pt idx="1">
                  <c:v>0.2185</c:v>
                </c:pt>
                <c:pt idx="2">
                  <c:v>0.95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D$2:$D$4</c:f>
              <c:numCache>
                <c:formatCode>General</c:formatCode>
                <c:ptCount val="3"/>
                <c:pt idx="0">
                  <c:v>0.6729</c:v>
                </c:pt>
                <c:pt idx="1">
                  <c:v>0.3358</c:v>
                </c:pt>
                <c:pt idx="2">
                  <c:v>1.2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34</c:v>
                </c:pt>
                <c:pt idx="1">
                  <c:v>Av Price/Vol 0.96</c:v>
                </c:pt>
                <c:pt idx="2">
                  <c:v>Av Price/Vol 3.31</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B$2:$B$4</c:f>
              <c:numCache>
                <c:formatCode>General</c:formatCode>
                <c:ptCount val="3"/>
                <c:pt idx="0">
                  <c:v>0.8577</c:v>
                </c:pt>
                <c:pt idx="1">
                  <c:v>0.0998</c:v>
                </c:pt>
                <c:pt idx="2">
                  <c:v>0.905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C$2:$C$4</c:f>
              <c:numCache>
                <c:formatCode>General</c:formatCode>
                <c:ptCount val="3"/>
                <c:pt idx="0">
                  <c:v>0.3344</c:v>
                </c:pt>
                <c:pt idx="1">
                  <c:v>0.1816</c:v>
                </c:pt>
                <c:pt idx="2">
                  <c:v>1.25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D$2:$D$4</c:f>
              <c:numCache>
                <c:formatCode>General</c:formatCode>
                <c:ptCount val="3"/>
                <c:pt idx="0">
                  <c:v>0.8488</c:v>
                </c:pt>
                <c:pt idx="1">
                  <c:v>0.2379</c:v>
                </c:pt>
                <c:pt idx="2">
                  <c:v>2.05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2.04</c:v>
                </c:pt>
                <c:pt idx="1">
                  <c:v>Av Price/Vol 0.52</c:v>
                </c:pt>
                <c:pt idx="2">
                  <c:v>Av Price/Vol 4.21</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B$2:$B$13</c:f>
              <c:numCache>
                <c:formatCode>General</c:formatCode>
                <c:ptCount val="12"/>
                <c:pt idx="0">
                  <c:v>3.2338951948404397</c:v>
                </c:pt>
                <c:pt idx="1">
                  <c:v>6.851935325602143</c:v>
                </c:pt>
                <c:pt idx="2">
                  <c:v>5.055853692924589</c:v>
                </c:pt>
                <c:pt idx="3">
                  <c:v>2.5421692679824663</c:v>
                </c:pt>
                <c:pt idx="4">
                  <c:v>3.212840593782746</c:v>
                </c:pt>
                <c:pt idx="5">
                  <c:v>5.025506923942544</c:v>
                </c:pt>
                <c:pt idx="6">
                  <c:v>14.210997661380745</c:v>
                </c:pt>
                <c:pt idx="7">
                  <c:v>4.7177</c:v>
                </c:pt>
                <c:pt idx="8">
                  <c:v>4.8102</c:v>
                </c:pt>
                <c:pt idx="9">
                  <c:v>2.6842000000000006</c:v>
                </c:pt>
                <c:pt idx="10">
                  <c:v>4.362660784313727</c:v>
                </c:pt>
                <c:pt idx="11">
                  <c:v>3.6452847457627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C$2:$C$13</c:f>
              <c:numCache>
                <c:formatCode>General</c:formatCode>
                <c:ptCount val="12"/>
                <c:pt idx="0">
                  <c:v>0.97840348493798</c:v>
                </c:pt>
                <c:pt idx="1">
                  <c:v>3.0701073392263396</c:v>
                </c:pt>
                <c:pt idx="2">
                  <c:v>2.7044202431768203</c:v>
                </c:pt>
                <c:pt idx="3">
                  <c:v>1.5464539916872968</c:v>
                </c:pt>
                <c:pt idx="4">
                  <c:v>2.8433297031086266</c:v>
                </c:pt>
                <c:pt idx="5">
                  <c:v>4.5703000000000005</c:v>
                </c:pt>
                <c:pt idx="6">
                  <c:v>6.237651513695339</c:v>
                </c:pt>
                <c:pt idx="7">
                  <c:v>2.7761</c:v>
                </c:pt>
                <c:pt idx="8">
                  <c:v>5.0165</c:v>
                </c:pt>
                <c:pt idx="9">
                  <c:v>1.5422000000000002</c:v>
                </c:pt>
                <c:pt idx="10">
                  <c:v>1.6393843137254902</c:v>
                </c:pt>
                <c:pt idx="11">
                  <c:v>2.39053220338983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D$2:$D$13</c:f>
              <c:numCache>
                <c:formatCode>General</c:formatCode>
                <c:ptCount val="12"/>
                <c:pt idx="0">
                  <c:v>2.3483884101467103</c:v>
                </c:pt>
                <c:pt idx="1">
                  <c:v>4.685078760846647</c:v>
                </c:pt>
                <c:pt idx="2">
                  <c:v>3.3410780494114602</c:v>
                </c:pt>
                <c:pt idx="3">
                  <c:v>2.4553521610756546</c:v>
                </c:pt>
                <c:pt idx="4">
                  <c:v>3.9021842228431716</c:v>
                </c:pt>
                <c:pt idx="5">
                  <c:v>5.5877503673793605</c:v>
                </c:pt>
                <c:pt idx="6">
                  <c:v>5.746769694057345</c:v>
                </c:pt>
                <c:pt idx="7">
                  <c:v>3.6403016238868506</c:v>
                </c:pt>
                <c:pt idx="8">
                  <c:v>5.383490984284535</c:v>
                </c:pt>
                <c:pt idx="9">
                  <c:v>2.3442510388437228</c:v>
                </c:pt>
                <c:pt idx="10">
                  <c:v>1.5255292335115866</c:v>
                </c:pt>
                <c:pt idx="11">
                  <c:v>3.37284595103578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B$2:$B$11</c:f>
              <c:numCache>
                <c:formatCode>General</c:formatCode>
                <c:ptCount val="10"/>
                <c:pt idx="0">
                  <c:v>1.3914279917437642</c:v>
                </c:pt>
                <c:pt idx="1">
                  <c:v>-0.004182630964775597</c:v>
                </c:pt>
                <c:pt idx="2">
                  <c:v>3.731427616800377</c:v>
                </c:pt>
                <c:pt idx="3">
                  <c:v>1.7060376426209658</c:v>
                </c:pt>
                <c:pt idx="4">
                  <c:v>1.1327056411257408</c:v>
                </c:pt>
                <c:pt idx="5">
                  <c:v>0.8628219693309717</c:v>
                </c:pt>
                <c:pt idx="6">
                  <c:v>6.477163045566108</c:v>
                </c:pt>
                <c:pt idx="7">
                  <c:v>0.007283720122692286</c:v>
                </c:pt>
                <c:pt idx="8">
                  <c:v>1.811492131993631</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C$2:$C$11</c:f>
              <c:numCache>
                <c:formatCode>General</c:formatCode>
                <c:ptCount val="10"/>
                <c:pt idx="0">
                  <c:v>1.4418720082562353</c:v>
                </c:pt>
                <c:pt idx="1">
                  <c:v>1.3036357652451591</c:v>
                </c:pt>
                <c:pt idx="2">
                  <c:v>1.3684723831996224</c:v>
                </c:pt>
                <c:pt idx="3">
                  <c:v>1.5962159688911657</c:v>
                </c:pt>
                <c:pt idx="4">
                  <c:v>1.1632943588742595</c:v>
                </c:pt>
                <c:pt idx="5">
                  <c:v>0.9348355467282192</c:v>
                </c:pt>
                <c:pt idx="6">
                  <c:v>2.6577369544338914</c:v>
                </c:pt>
                <c:pt idx="7">
                  <c:v>0.6961612940563691</c:v>
                </c:pt>
                <c:pt idx="8">
                  <c:v>2.506807868006369</c:v>
                </c:pt>
                <c:pt idx="9">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D$2:$D$11</c:f>
              <c:numCache>
                <c:formatCode>General</c:formatCode>
                <c:ptCount val="10"/>
                <c:pt idx="0">
                  <c:v>2.7080953403413917</c:v>
                </c:pt>
                <c:pt idx="1">
                  <c:v>0.8782383366757269</c:v>
                </c:pt>
                <c:pt idx="2">
                  <c:v>3.8343604341670616</c:v>
                </c:pt>
                <c:pt idx="3">
                  <c:v>2.679071955478973</c:v>
                </c:pt>
                <c:pt idx="4">
                  <c:v>1.9032435337331868</c:v>
                </c:pt>
                <c:pt idx="5">
                  <c:v>2.2055028915490187</c:v>
                </c:pt>
                <c:pt idx="6">
                  <c:v>5.989739846334434</c:v>
                </c:pt>
                <c:pt idx="7">
                  <c:v>0.31417707539292106</c:v>
                </c:pt>
                <c:pt idx="8">
                  <c:v>4.108488832152858</c:v>
                </c:pt>
                <c:pt idx="9">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B$2:$B$13</c:f>
              <c:numCache>
                <c:formatCode>General</c:formatCode>
                <c:ptCount val="12"/>
                <c:pt idx="0">
                  <c:v>6.8390522795495094</c:v>
                </c:pt>
                <c:pt idx="1">
                  <c:v>3.233715215106926</c:v>
                </c:pt>
                <c:pt idx="2">
                  <c:v>5.054232970869206</c:v>
                </c:pt>
                <c:pt idx="3">
                  <c:v>14.19104302177007</c:v>
                </c:pt>
                <c:pt idx="4">
                  <c:v>2.541888380255395</c:v>
                </c:pt>
                <c:pt idx="5">
                  <c:v>3.212480951011117</c:v>
                </c:pt>
                <c:pt idx="6">
                  <c:v>5.025910217783153</c:v>
                </c:pt>
                <c:pt idx="7">
                  <c:v>1.7043</c:v>
                </c:pt>
                <c:pt idx="8">
                  <c:v>2.2291999999999996</c:v>
                </c:pt>
                <c:pt idx="9">
                  <c:v>4.7177</c:v>
                </c:pt>
                <c:pt idx="10">
                  <c:v>2.6841999999999997</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C$2:$C$13</c:f>
              <c:numCache>
                <c:formatCode>General</c:formatCode>
                <c:ptCount val="12"/>
                <c:pt idx="0">
                  <c:v>3.067757635848979</c:v>
                </c:pt>
                <c:pt idx="1">
                  <c:v>0.9783543391804891</c:v>
                </c:pt>
                <c:pt idx="2">
                  <c:v>2.7044101916499583</c:v>
                </c:pt>
                <c:pt idx="3">
                  <c:v>6.233489702076728</c:v>
                </c:pt>
                <c:pt idx="4">
                  <c:v>1.5464522231349414</c:v>
                </c:pt>
                <c:pt idx="5">
                  <c:v>2.8435095244944413</c:v>
                </c:pt>
                <c:pt idx="6">
                  <c:v>4.5703</c:v>
                </c:pt>
                <c:pt idx="7">
                  <c:v>4.9948</c:v>
                </c:pt>
                <c:pt idx="8">
                  <c:v>4.3998</c:v>
                </c:pt>
                <c:pt idx="9">
                  <c:v>2.7761</c:v>
                </c:pt>
                <c:pt idx="10">
                  <c:v>1.5421999999999998</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D$2:$D$13</c:f>
              <c:numCache>
                <c:formatCode>General</c:formatCode>
                <c:ptCount val="12"/>
                <c:pt idx="0">
                  <c:v>4.684638127418941</c:v>
                </c:pt>
                <c:pt idx="1">
                  <c:v>2.2777927239644518</c:v>
                </c:pt>
                <c:pt idx="2">
                  <c:v>3.2382940865668104</c:v>
                </c:pt>
                <c:pt idx="3">
                  <c:v>5.777374179174487</c:v>
                </c:pt>
                <c:pt idx="4">
                  <c:v>2.398801040997685</c:v>
                </c:pt>
                <c:pt idx="5">
                  <c:v>3.9013673510708635</c:v>
                </c:pt>
                <c:pt idx="6">
                  <c:v>5.409317070708223</c:v>
                </c:pt>
                <c:pt idx="7">
                  <c:v>1.9202117629885382</c:v>
                </c:pt>
                <c:pt idx="8">
                  <c:v>2.334137826183455</c:v>
                </c:pt>
                <c:pt idx="9">
                  <c:v>3.502975628196574</c:v>
                </c:pt>
                <c:pt idx="10">
                  <c:v>2.2649567847350456</c:v>
                </c:pt>
                <c:pt idx="11">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B$2:$B$11</c:f>
              <c:numCache>
                <c:formatCode>General</c:formatCode>
                <c:ptCount val="10"/>
                <c:pt idx="0">
                  <c:v>1.3913535853264212</c:v>
                </c:pt>
                <c:pt idx="1">
                  <c:v>3.731685929427754</c:v>
                </c:pt>
                <c:pt idx="2">
                  <c:v>-0.0034127103466726418</c:v>
                </c:pt>
                <c:pt idx="3">
                  <c:v>1.7058220196056355</c:v>
                </c:pt>
                <c:pt idx="4">
                  <c:v>1.132846593286125</c:v>
                </c:pt>
                <c:pt idx="5">
                  <c:v>0.862530590935272</c:v>
                </c:pt>
                <c:pt idx="6">
                  <c:v>6.477164216836477</c:v>
                </c:pt>
                <c:pt idx="7">
                  <c:v>1.8129998778625953</c:v>
                </c:pt>
                <c:pt idx="8">
                  <c:v>0.0072931375268884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C$2:$C$11</c:f>
              <c:numCache>
                <c:formatCode>General</c:formatCode>
                <c:ptCount val="10"/>
                <c:pt idx="0">
                  <c:v>1.441946414673579</c:v>
                </c:pt>
                <c:pt idx="1">
                  <c:v>1.3682140705722463</c:v>
                </c:pt>
                <c:pt idx="2">
                  <c:v>1.3028651803297155</c:v>
                </c:pt>
                <c:pt idx="3">
                  <c:v>1.5964314680564011</c:v>
                </c:pt>
                <c:pt idx="4">
                  <c:v>1.1631534067138753</c:v>
                </c:pt>
                <c:pt idx="5">
                  <c:v>0.9351266017294732</c:v>
                </c:pt>
                <c:pt idx="6">
                  <c:v>2.6577357831635235</c:v>
                </c:pt>
                <c:pt idx="7">
                  <c:v>2.5053001221374043</c:v>
                </c:pt>
                <c:pt idx="8">
                  <c:v>0.6961518919650252</c:v>
                </c:pt>
                <c:pt idx="9">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D$2:$D$11</c:f>
              <c:numCache>
                <c:formatCode>General</c:formatCode>
                <c:ptCount val="10"/>
                <c:pt idx="0">
                  <c:v>2.649763853189348</c:v>
                </c:pt>
                <c:pt idx="1">
                  <c:v>3.848679181367342</c:v>
                </c:pt>
                <c:pt idx="2">
                  <c:v>0.877855437315233</c:v>
                </c:pt>
                <c:pt idx="3">
                  <c:v>2.6775867628565373</c:v>
                </c:pt>
                <c:pt idx="4">
                  <c:v>1.8539354866522482</c:v>
                </c:pt>
                <c:pt idx="5">
                  <c:v>2.171707915321968</c:v>
                </c:pt>
                <c:pt idx="6">
                  <c:v>6.255594305470023</c:v>
                </c:pt>
                <c:pt idx="7">
                  <c:v>4.1230529572931705</c:v>
                </c:pt>
                <c:pt idx="8">
                  <c:v>0.29817435980134643</c:v>
                </c:pt>
                <c:pt idx="9">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B$2:$B$13</c:f>
              <c:numCache>
                <c:formatCode>General</c:formatCode>
                <c:ptCount val="12"/>
                <c:pt idx="0">
                  <c:v>6.839531646239956</c:v>
                </c:pt>
                <c:pt idx="1">
                  <c:v>3.233711386309951</c:v>
                </c:pt>
                <c:pt idx="2">
                  <c:v>5.054899165457547</c:v>
                </c:pt>
                <c:pt idx="3">
                  <c:v>14.192114738292009</c:v>
                </c:pt>
                <c:pt idx="4">
                  <c:v>2.542119626734359</c:v>
                </c:pt>
                <c:pt idx="5">
                  <c:v>3.2126581464138413</c:v>
                </c:pt>
                <c:pt idx="6">
                  <c:v>5.02659039075498</c:v>
                </c:pt>
                <c:pt idx="7">
                  <c:v>1.7043</c:v>
                </c:pt>
                <c:pt idx="8">
                  <c:v>2.2291999999999996</c:v>
                </c:pt>
                <c:pt idx="9">
                  <c:v>4.7177</c:v>
                </c:pt>
                <c:pt idx="10">
                  <c:v>2.6842</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C$2:$C$13</c:f>
              <c:numCache>
                <c:formatCode>General</c:formatCode>
                <c:ptCount val="12"/>
                <c:pt idx="0">
                  <c:v>3.067845066222738</c:v>
                </c:pt>
                <c:pt idx="1">
                  <c:v>0.9783532936787319</c:v>
                </c:pt>
                <c:pt idx="2">
                  <c:v>2.704414323310152</c:v>
                </c:pt>
                <c:pt idx="3">
                  <c:v>6.233713223140496</c:v>
                </c:pt>
                <c:pt idx="4">
                  <c:v>1.5464536791312902</c:v>
                </c:pt>
                <c:pt idx="5">
                  <c:v>2.8434209267930792</c:v>
                </c:pt>
                <c:pt idx="6">
                  <c:v>4.5703</c:v>
                </c:pt>
                <c:pt idx="7">
                  <c:v>4.9948</c:v>
                </c:pt>
                <c:pt idx="8">
                  <c:v>4.399799999999999</c:v>
                </c:pt>
                <c:pt idx="9">
                  <c:v>2.7761000000000005</c:v>
                </c:pt>
                <c:pt idx="10">
                  <c:v>1.5422000000000002</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D$2:$D$13</c:f>
              <c:numCache>
                <c:formatCode>General</c:formatCode>
                <c:ptCount val="12"/>
                <c:pt idx="0">
                  <c:v>4.683508421164115</c:v>
                </c:pt>
                <c:pt idx="1">
                  <c:v>2.285114535560834</c:v>
                </c:pt>
                <c:pt idx="2">
                  <c:v>3.247973158553058</c:v>
                </c:pt>
                <c:pt idx="3">
                  <c:v>5.771711167797839</c:v>
                </c:pt>
                <c:pt idx="4">
                  <c:v>2.403455607478132</c:v>
                </c:pt>
                <c:pt idx="5">
                  <c:v>3.9015932615950515</c:v>
                </c:pt>
                <c:pt idx="6">
                  <c:v>5.42089618038381</c:v>
                </c:pt>
                <c:pt idx="7">
                  <c:v>1.9227027413210482</c:v>
                </c:pt>
                <c:pt idx="8">
                  <c:v>2.335967770032089</c:v>
                </c:pt>
                <c:pt idx="9">
                  <c:v>3.516074412807976</c:v>
                </c:pt>
                <c:pt idx="10">
                  <c:v>2.2714615812527894</c:v>
                </c:pt>
                <c:pt idx="11">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B$2:$B$12</c:f>
              <c:numCache>
                <c:formatCode>General</c:formatCode>
                <c:ptCount val="11"/>
                <c:pt idx="0">
                  <c:v>1.391337819208969</c:v>
                </c:pt>
                <c:pt idx="1">
                  <c:v>3.731684971057627</c:v>
                </c:pt>
                <c:pt idx="2">
                  <c:v>-0.003430243957590782</c:v>
                </c:pt>
                <c:pt idx="3">
                  <c:v>1.7056911935876407</c:v>
                </c:pt>
                <c:pt idx="4">
                  <c:v>1.1328696165771632</c:v>
                </c:pt>
                <c:pt idx="5">
                  <c:v>0.8624432843284106</c:v>
                </c:pt>
                <c:pt idx="6">
                  <c:v>6.477163538161375</c:v>
                </c:pt>
                <c:pt idx="7">
                  <c:v>0.0073972645224219475</c:v>
                </c:pt>
                <c:pt idx="8">
                  <c:v>1.8129275374529839</c:v>
                </c:pt>
                <c:pt idx="9">
                  <c:v>8.009000000000002</c:v>
                </c:pt>
                <c:pt idx="10">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C$2:$C$12</c:f>
              <c:numCache>
                <c:formatCode>General</c:formatCode>
                <c:ptCount val="11"/>
                <c:pt idx="0">
                  <c:v>1.4419621807910314</c:v>
                </c:pt>
                <c:pt idx="1">
                  <c:v>1.368215028942373</c:v>
                </c:pt>
                <c:pt idx="2">
                  <c:v>1.3028827290688574</c:v>
                </c:pt>
                <c:pt idx="3">
                  <c:v>1.5965622189302155</c:v>
                </c:pt>
                <c:pt idx="4">
                  <c:v>1.1631303834228373</c:v>
                </c:pt>
                <c:pt idx="5">
                  <c:v>0.9352138114366597</c:v>
                </c:pt>
                <c:pt idx="6">
                  <c:v>2.6577364618386254</c:v>
                </c:pt>
                <c:pt idx="7">
                  <c:v>0.6960479342816795</c:v>
                </c:pt>
                <c:pt idx="8">
                  <c:v>2.5053724625470166</c:v>
                </c:pt>
                <c:pt idx="9">
                  <c:v>3.7053000000000003</c:v>
                </c:pt>
                <c:pt idx="10">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D$2:$D$12</c:f>
              <c:numCache>
                <c:formatCode>General</c:formatCode>
                <c:ptCount val="11"/>
                <c:pt idx="0">
                  <c:v>2.6544815258828254</c:v>
                </c:pt>
                <c:pt idx="1">
                  <c:v>3.8479765070735015</c:v>
                </c:pt>
                <c:pt idx="2">
                  <c:v>0.8778978962155624</c:v>
                </c:pt>
                <c:pt idx="3">
                  <c:v>2.67736377440347</c:v>
                </c:pt>
                <c:pt idx="4">
                  <c:v>1.8581278447161123</c:v>
                </c:pt>
                <c:pt idx="5">
                  <c:v>2.174250147950246</c:v>
                </c:pt>
                <c:pt idx="6">
                  <c:v>6.164408628882589</c:v>
                </c:pt>
                <c:pt idx="7">
                  <c:v>0.3000036054405024</c:v>
                </c:pt>
                <c:pt idx="8">
                  <c:v>4.1225074155841375</c:v>
                </c:pt>
                <c:pt idx="9">
                  <c:v>7.765849191877331</c:v>
                </c:pt>
                <c:pt idx="10">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B$2:$B$12</c:f>
              <c:numCache>
                <c:formatCode>General</c:formatCode>
                <c:ptCount val="11"/>
                <c:pt idx="0">
                  <c:v>6.834024652851955</c:v>
                </c:pt>
                <c:pt idx="1">
                  <c:v>5.061522740760723</c:v>
                </c:pt>
                <c:pt idx="2">
                  <c:v>3.2334426633358953</c:v>
                </c:pt>
                <c:pt idx="3">
                  <c:v>2.5448640435753433</c:v>
                </c:pt>
                <c:pt idx="4">
                  <c:v>3.214683695951529</c:v>
                </c:pt>
                <c:pt idx="5">
                  <c:v>5.040524876695438</c:v>
                </c:pt>
                <c:pt idx="6">
                  <c:v>4.7177</c:v>
                </c:pt>
                <c:pt idx="7">
                  <c:v>2.6842</c:v>
                </c:pt>
                <c:pt idx="8">
                  <c:v>4.8102</c:v>
                </c:pt>
                <c:pt idx="9">
                  <c:v>8.1992</c:v>
                </c:pt>
                <c:pt idx="10">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C$2:$C$12</c:f>
              <c:numCache>
                <c:formatCode>General</c:formatCode>
                <c:ptCount val="11"/>
                <c:pt idx="0">
                  <c:v>3.066840660827458</c:v>
                </c:pt>
                <c:pt idx="1">
                  <c:v>2.7044554019422713</c:v>
                </c:pt>
                <c:pt idx="2">
                  <c:v>0.978279915449654</c:v>
                </c:pt>
                <c:pt idx="3">
                  <c:v>1.546470958792882</c:v>
                </c:pt>
                <c:pt idx="4">
                  <c:v>2.8424081520242357</c:v>
                </c:pt>
                <c:pt idx="5">
                  <c:v>4.5703</c:v>
                </c:pt>
                <c:pt idx="6">
                  <c:v>2.7761</c:v>
                </c:pt>
                <c:pt idx="7">
                  <c:v>1.5422</c:v>
                </c:pt>
                <c:pt idx="8">
                  <c:v>5.0165</c:v>
                </c:pt>
                <c:pt idx="9">
                  <c:v>2.1174999999999997</c:v>
                </c:pt>
                <c:pt idx="10">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D$2:$D$12</c:f>
              <c:numCache>
                <c:formatCode>General</c:formatCode>
                <c:ptCount val="11"/>
                <c:pt idx="0">
                  <c:v>4.6694399772128445</c:v>
                </c:pt>
                <c:pt idx="1">
                  <c:v>3.261581818181818</c:v>
                </c:pt>
                <c:pt idx="2">
                  <c:v>2.299730149884703</c:v>
                </c:pt>
                <c:pt idx="3">
                  <c:v>2.408151879919706</c:v>
                </c:pt>
                <c:pt idx="4">
                  <c:v>3.9038224834756257</c:v>
                </c:pt>
                <c:pt idx="5">
                  <c:v>5.370473931360461</c:v>
                </c:pt>
                <c:pt idx="6">
                  <c:v>3.5501560439560427</c:v>
                </c:pt>
                <c:pt idx="7">
                  <c:v>2.282073205741627</c:v>
                </c:pt>
                <c:pt idx="8">
                  <c:v>5.1944437710437725</c:v>
                </c:pt>
                <c:pt idx="9">
                  <c:v>-4.9168</c:v>
                </c:pt>
                <c:pt idx="10">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B$2:$B$11</c:f>
              <c:numCache>
                <c:formatCode>General</c:formatCode>
                <c:ptCount val="10"/>
                <c:pt idx="0">
                  <c:v>1.3910074025933514</c:v>
                </c:pt>
                <c:pt idx="1">
                  <c:v>3.7319013056942776</c:v>
                </c:pt>
                <c:pt idx="2">
                  <c:v>-0.0028238252861935344</c:v>
                </c:pt>
                <c:pt idx="3">
                  <c:v>1.7034869891422082</c:v>
                </c:pt>
                <c:pt idx="4">
                  <c:v>1.1333460349501125</c:v>
                </c:pt>
                <c:pt idx="5">
                  <c:v>0.008419116543434663</c:v>
                </c:pt>
                <c:pt idx="6">
                  <c:v>0.8609268492640209</c:v>
                </c:pt>
                <c:pt idx="7">
                  <c:v>1.8133430825652657</c:v>
                </c:pt>
                <c:pt idx="8">
                  <c:v>6.47715481105112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C$2:$C$11</c:f>
              <c:numCache>
                <c:formatCode>General</c:formatCode>
                <c:ptCount val="10"/>
                <c:pt idx="0">
                  <c:v>1.4422925974066485</c:v>
                </c:pt>
                <c:pt idx="1">
                  <c:v>1.3679986943057223</c:v>
                </c:pt>
                <c:pt idx="2">
                  <c:v>1.3022757871716868</c:v>
                </c:pt>
                <c:pt idx="3">
                  <c:v>1.5987651573191026</c:v>
                </c:pt>
                <c:pt idx="4">
                  <c:v>1.1626539650498875</c:v>
                </c:pt>
                <c:pt idx="5">
                  <c:v>0.6950277438086686</c:v>
                </c:pt>
                <c:pt idx="6">
                  <c:v>0.9367285634432643</c:v>
                </c:pt>
                <c:pt idx="7">
                  <c:v>2.5049569174347344</c:v>
                </c:pt>
                <c:pt idx="8">
                  <c:v>2.6577451889488724</c:v>
                </c:pt>
                <c:pt idx="9">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D$2:$D$11</c:f>
              <c:numCache>
                <c:formatCode>General</c:formatCode>
                <c:ptCount val="10"/>
                <c:pt idx="0">
                  <c:v>2.66158920546122</c:v>
                </c:pt>
                <c:pt idx="1">
                  <c:v>3.8513384342828445</c:v>
                </c:pt>
                <c:pt idx="2">
                  <c:v>0.8780065175509717</c:v>
                </c:pt>
                <c:pt idx="3">
                  <c:v>2.6723387340501414</c:v>
                </c:pt>
                <c:pt idx="4">
                  <c:v>1.8636544225926142</c:v>
                </c:pt>
                <c:pt idx="5">
                  <c:v>0.30592544320460635</c:v>
                </c:pt>
                <c:pt idx="6">
                  <c:v>2.1783827955350037</c:v>
                </c:pt>
                <c:pt idx="7">
                  <c:v>4.128448081841433</c:v>
                </c:pt>
                <c:pt idx="8">
                  <c:v>5.099460114322007</c:v>
                </c:pt>
                <c:pt idx="9">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5407283-6059-4F9E-859F-C509E01FE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E36C03E-C9F6-4FA5-8471-C2B51F494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E3F9438-67BE-46BB-85F7-33388637D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203FF06-61A2-4458-A2A2-1119BF2A9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7151E6A-3C01-441E-90AA-5CA54ECFA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9DDBD60-FDD9-48C5-8E92-3BE98B8EF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64C5894-5C5B-46D6-ACEC-B4160C3C8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021EE93-86F6-43A6-B181-40310F7D8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017</c:v>
                </c:pt>
                <c:pt idx="1">
                  <c:v>1.7663</c:v>
                </c:pt>
                <c:pt idx="2">
                  <c:v>1.777</c:v>
                </c:pt>
              </c:numCache>
            </c:numRef>
          </c:xVal>
          <c:yVal>
            <c:numRef>
              <c:f>Sheet1!$B$2:$B$4</c:f>
              <c:numCache>
                <c:formatCode>General</c:formatCode>
                <c:ptCount val="3"/>
                <c:pt idx="0">
                  <c:v>0.6006</c:v>
                </c:pt>
                <c:pt idx="1">
                  <c:v>0.6384</c:v>
                </c:pt>
                <c:pt idx="2">
                  <c:v>0.6291</c:v>
                </c:pt>
              </c:numCache>
            </c:numRef>
          </c:yVal>
          <c:bubbleSize>
            <c:numRef>
              <c:f>Sheet1!$C$2:$C$4</c:f>
              <c:numCache>
                <c:formatCode>General</c:formatCode>
                <c:ptCount val="3"/>
                <c:pt idx="0">
                  <c:v>9131649.962499999</c:v>
                </c:pt>
                <c:pt idx="1">
                  <c:v>558770.2105</c:v>
                </c:pt>
                <c:pt idx="2">
                  <c:v>456825.02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6204"/>
          <c:min val="1.413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39645611711172"/>
        <c:crossBetween val="midCat"/>
      </c:valAx>
      <c:valAx>
        <c:axId val="1011451359"/>
        <c:scaling>
          <c:orientation val="minMax"/>
          <c:max val="1.1260799999999997"/>
          <c:min val="0.2404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9863867222303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B$2:$B$12</c:f>
              <c:numCache>
                <c:formatCode>General</c:formatCode>
                <c:ptCount val="11"/>
                <c:pt idx="0">
                  <c:v>6.8390522795495094</c:v>
                </c:pt>
                <c:pt idx="1">
                  <c:v>14.19104302177007</c:v>
                </c:pt>
                <c:pt idx="2">
                  <c:v>3.212480951011117</c:v>
                </c:pt>
                <c:pt idx="3">
                  <c:v>1.7043</c:v>
                </c:pt>
                <c:pt idx="4">
                  <c:v>3.6424507269253144</c:v>
                </c:pt>
                <c:pt idx="5">
                  <c:v>4.3638916493596405</c:v>
                </c:pt>
                <c:pt idx="6">
                  <c:v>3.5132081313391774</c:v>
                </c:pt>
                <c:pt idx="7">
                  <c:v>6.342539987038238</c:v>
                </c:pt>
                <c:pt idx="8">
                  <c:v>8.1992</c:v>
                </c:pt>
                <c:pt idx="9">
                  <c:v>3.6566</c:v>
                </c:pt>
                <c:pt idx="10">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C$2:$C$12</c:f>
              <c:numCache>
                <c:formatCode>General</c:formatCode>
                <c:ptCount val="11"/>
                <c:pt idx="0">
                  <c:v>3.067757635848979</c:v>
                </c:pt>
                <c:pt idx="1">
                  <c:v>6.233489702076728</c:v>
                </c:pt>
                <c:pt idx="2">
                  <c:v>2.8435095244944413</c:v>
                </c:pt>
                <c:pt idx="3">
                  <c:v>4.9948</c:v>
                </c:pt>
                <c:pt idx="4">
                  <c:v>2.390709329567168</c:v>
                </c:pt>
                <c:pt idx="5">
                  <c:v>1.6381610938040845</c:v>
                </c:pt>
                <c:pt idx="6">
                  <c:v>5.942967801272133</c:v>
                </c:pt>
                <c:pt idx="7">
                  <c:v>2.537953920933247</c:v>
                </c:pt>
                <c:pt idx="8">
                  <c:v>2.1174999999999997</c:v>
                </c:pt>
                <c:pt idx="9">
                  <c:v>2.3597000000000006</c:v>
                </c:pt>
                <c:pt idx="10">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D$2:$D$12</c:f>
              <c:numCache>
                <c:formatCode>General</c:formatCode>
                <c:ptCount val="11"/>
                <c:pt idx="0">
                  <c:v>4.684638127418941</c:v>
                </c:pt>
                <c:pt idx="1">
                  <c:v>5.777374179174487</c:v>
                </c:pt>
                <c:pt idx="2">
                  <c:v>3.9013673510708635</c:v>
                </c:pt>
                <c:pt idx="3">
                  <c:v>1.9202117629885382</c:v>
                </c:pt>
                <c:pt idx="4">
                  <c:v>3.5119923901304313</c:v>
                </c:pt>
                <c:pt idx="5">
                  <c:v>2.383673624091382</c:v>
                </c:pt>
                <c:pt idx="6">
                  <c:v>5.474272769468797</c:v>
                </c:pt>
                <c:pt idx="7">
                  <c:v>4.707410499027867</c:v>
                </c:pt>
                <c:pt idx="8">
                  <c:v>-4.032519063545149</c:v>
                </c:pt>
                <c:pt idx="9">
                  <c:v>-2.3883930232558144</c:v>
                </c:pt>
                <c:pt idx="10">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5</c:v>
                </c:pt>
                <c:pt idx="5">
                  <c:v>Av Price/Unit 8.39</c:v>
                </c:pt>
                <c:pt idx="6">
                  <c:v>Av Price/Unit 14.93</c:v>
                </c:pt>
                <c:pt idx="7">
                  <c:v>Av Price/Unit 13.59</c:v>
                </c:pt>
                <c:pt idx="8">
                  <c:v>Av Price/Unit 6.22</c:v>
                </c:pt>
                <c:pt idx="9">
                  <c:v>Av Price/Unit 3.58</c:v>
                </c:pt>
                <c:pt idx="10">
                  <c:v>Av Price/Unit 3.70</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B$2:$B$5</c:f>
              <c:numCache>
                <c:formatCode>General</c:formatCode>
                <c:ptCount val="4"/>
                <c:pt idx="0">
                  <c:v>3.731685929427754</c:v>
                </c:pt>
                <c:pt idx="1">
                  <c:v>6.477164216836477</c:v>
                </c:pt>
                <c:pt idx="2">
                  <c:v>1.8129998778625953</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C$2:$C$5</c:f>
              <c:numCache>
                <c:formatCode>General</c:formatCode>
                <c:ptCount val="4"/>
                <c:pt idx="0">
                  <c:v>1.3682140705722463</c:v>
                </c:pt>
                <c:pt idx="1">
                  <c:v>2.6577357831635235</c:v>
                </c:pt>
                <c:pt idx="2">
                  <c:v>2.5053001221374043</c:v>
                </c:pt>
                <c:pt idx="3">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D$2:$D$5</c:f>
              <c:numCache>
                <c:formatCode>General</c:formatCode>
                <c:ptCount val="4"/>
                <c:pt idx="0">
                  <c:v>3.848679181367342</c:v>
                </c:pt>
                <c:pt idx="1">
                  <c:v>6.255594305470023</c:v>
                </c:pt>
                <c:pt idx="2">
                  <c:v>4.1230529572931705</c:v>
                </c:pt>
                <c:pt idx="3">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B$2:$B$5</c:f>
              <c:numCache>
                <c:formatCode>General</c:formatCode>
                <c:ptCount val="4"/>
                <c:pt idx="0">
                  <c:v>6.834024652851955</c:v>
                </c:pt>
                <c:pt idx="1">
                  <c:v>3.214683695951529</c:v>
                </c:pt>
                <c:pt idx="2">
                  <c:v>8.1992</c:v>
                </c:pt>
                <c:pt idx="3">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C$2:$C$5</c:f>
              <c:numCache>
                <c:formatCode>General</c:formatCode>
                <c:ptCount val="4"/>
                <c:pt idx="0">
                  <c:v>3.066840660827458</c:v>
                </c:pt>
                <c:pt idx="1">
                  <c:v>2.8424081520242357</c:v>
                </c:pt>
                <c:pt idx="2">
                  <c:v>2.1174999999999997</c:v>
                </c:pt>
                <c:pt idx="3">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D$2:$D$5</c:f>
              <c:numCache>
                <c:formatCode>General</c:formatCode>
                <c:ptCount val="4"/>
                <c:pt idx="0">
                  <c:v>4.6694399772128445</c:v>
                </c:pt>
                <c:pt idx="1">
                  <c:v>3.9038224834756257</c:v>
                </c:pt>
                <c:pt idx="2">
                  <c:v>-4.9168</c:v>
                </c:pt>
                <c:pt idx="3">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B$2:$B$5</c:f>
              <c:numCache>
                <c:formatCode>General</c:formatCode>
                <c:ptCount val="4"/>
                <c:pt idx="0">
                  <c:v>3.7319013056942776</c:v>
                </c:pt>
                <c:pt idx="1">
                  <c:v>1.8133430825652657</c:v>
                </c:pt>
                <c:pt idx="2">
                  <c:v>6.477154811051128</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C$2:$C$5</c:f>
              <c:numCache>
                <c:formatCode>General</c:formatCode>
                <c:ptCount val="4"/>
                <c:pt idx="0">
                  <c:v>1.3679986943057223</c:v>
                </c:pt>
                <c:pt idx="1">
                  <c:v>2.5049569174347344</c:v>
                </c:pt>
                <c:pt idx="2">
                  <c:v>2.6577451889488724</c:v>
                </c:pt>
                <c:pt idx="3">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D$2:$D$5</c:f>
              <c:numCache>
                <c:formatCode>General</c:formatCode>
                <c:ptCount val="4"/>
                <c:pt idx="0">
                  <c:v>3.8513384342828445</c:v>
                </c:pt>
                <c:pt idx="1">
                  <c:v>4.128448081841433</c:v>
                </c:pt>
                <c:pt idx="2">
                  <c:v>5.099460114322007</c:v>
                </c:pt>
                <c:pt idx="3">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B$2:$B$8</c:f>
              <c:numCache>
                <c:formatCode>General</c:formatCode>
                <c:ptCount val="7"/>
                <c:pt idx="0">
                  <c:v>6.851935325602143</c:v>
                </c:pt>
                <c:pt idx="1">
                  <c:v>3.212840593782746</c:v>
                </c:pt>
                <c:pt idx="2">
                  <c:v>14.210997661380745</c:v>
                </c:pt>
                <c:pt idx="3">
                  <c:v>4.362660784313727</c:v>
                </c:pt>
                <c:pt idx="4">
                  <c:v>3.645284745762712</c:v>
                </c:pt>
                <c:pt idx="5">
                  <c:v>1.7043</c:v>
                </c:pt>
                <c:pt idx="6">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C$2:$C$8</c:f>
              <c:numCache>
                <c:formatCode>General</c:formatCode>
                <c:ptCount val="7"/>
                <c:pt idx="0">
                  <c:v>3.0701073392263396</c:v>
                </c:pt>
                <c:pt idx="1">
                  <c:v>2.8433297031086266</c:v>
                </c:pt>
                <c:pt idx="2">
                  <c:v>6.237651513695339</c:v>
                </c:pt>
                <c:pt idx="3">
                  <c:v>1.6393843137254902</c:v>
                </c:pt>
                <c:pt idx="4">
                  <c:v>2.3905322033898306</c:v>
                </c:pt>
                <c:pt idx="5">
                  <c:v>4.994799999999999</c:v>
                </c:pt>
                <c:pt idx="6">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D$2:$D$8</c:f>
              <c:numCache>
                <c:formatCode>General</c:formatCode>
                <c:ptCount val="7"/>
                <c:pt idx="0">
                  <c:v>4.685078760846647</c:v>
                </c:pt>
                <c:pt idx="1">
                  <c:v>3.9021842228431716</c:v>
                </c:pt>
                <c:pt idx="2">
                  <c:v>5.746769694057345</c:v>
                </c:pt>
                <c:pt idx="3">
                  <c:v>1.5255292335115866</c:v>
                </c:pt>
                <c:pt idx="4">
                  <c:v>3.3728459510357807</c:v>
                </c:pt>
                <c:pt idx="5">
                  <c:v>2.7587833693304535</c:v>
                </c:pt>
                <c:pt idx="6">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4.61</c:v>
                </c:pt>
                <c:pt idx="1">
                  <c:v>Av Price/Unit 9.96</c:v>
                </c:pt>
                <c:pt idx="2">
                  <c:v>Av Price/Unit 26.20</c:v>
                </c:pt>
                <c:pt idx="3">
                  <c:v>Av Price/Unit 7.53</c:v>
                </c:pt>
                <c:pt idx="4">
                  <c:v>Av Price/Unit 9.41</c:v>
                </c:pt>
                <c:pt idx="5">
                  <c:v>Av Price/Unit 9.46</c:v>
                </c:pt>
                <c:pt idx="6">
                  <c:v>Av Price/Unit 15.05</c:v>
                </c:pt>
              </c:strCache>
            </c:strRef>
          </c:cat>
          <c:val>
            <c:numRef>
              <c:f>Sheet1!$E$2:$E$8</c:f>
              <c:numCache>
                <c:formatCode>General</c:formatCode>
                <c:ptCount val="7"/>
                <c:pt idx="0">
                  <c:v>0.0</c:v>
                </c:pt>
                <c:pt idx="1">
                  <c:v>0.0</c:v>
                </c:pt>
                <c:pt idx="2">
                  <c:v>0.0</c:v>
                </c:pt>
                <c:pt idx="3">
                  <c:v>0.0</c:v>
                </c:pt>
                <c:pt idx="4">
                  <c:v>0.0</c:v>
                </c:pt>
                <c:pt idx="5">
                  <c:v>0.0</c:v>
                </c:pt>
                <c:pt idx="6">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B$2:$B$5</c:f>
              <c:numCache>
                <c:formatCode>General</c:formatCode>
                <c:ptCount val="4"/>
                <c:pt idx="0">
                  <c:v>3.731427616800377</c:v>
                </c:pt>
                <c:pt idx="1">
                  <c:v>6.477163045566108</c:v>
                </c:pt>
                <c:pt idx="2">
                  <c:v>1.811492131993631</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C$2:$C$5</c:f>
              <c:numCache>
                <c:formatCode>General</c:formatCode>
                <c:ptCount val="4"/>
                <c:pt idx="0">
                  <c:v>1.3684723831996224</c:v>
                </c:pt>
                <c:pt idx="1">
                  <c:v>2.6577369544338914</c:v>
                </c:pt>
                <c:pt idx="2">
                  <c:v>2.506807868006369</c:v>
                </c:pt>
                <c:pt idx="3">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D$2:$D$5</c:f>
              <c:numCache>
                <c:formatCode>General</c:formatCode>
                <c:ptCount val="4"/>
                <c:pt idx="0">
                  <c:v>3.8343604341670616</c:v>
                </c:pt>
                <c:pt idx="1">
                  <c:v>5.989739846334434</c:v>
                </c:pt>
                <c:pt idx="2">
                  <c:v>4.108488832152858</c:v>
                </c:pt>
                <c:pt idx="3">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B$2:$B$12</c:f>
              <c:numCache>
                <c:formatCode>General</c:formatCode>
                <c:ptCount val="11"/>
                <c:pt idx="0">
                  <c:v>6.839531646239956</c:v>
                </c:pt>
                <c:pt idx="1">
                  <c:v>14.192114738292009</c:v>
                </c:pt>
                <c:pt idx="2">
                  <c:v>3.2126581464138413</c:v>
                </c:pt>
                <c:pt idx="3">
                  <c:v>1.7043</c:v>
                </c:pt>
                <c:pt idx="4">
                  <c:v>3.642571242245906</c:v>
                </c:pt>
                <c:pt idx="5">
                  <c:v>4.363833966000991</c:v>
                </c:pt>
                <c:pt idx="6">
                  <c:v>3.513407984599932</c:v>
                </c:pt>
                <c:pt idx="7">
                  <c:v>6.320834774436092</c:v>
                </c:pt>
                <c:pt idx="8">
                  <c:v>8.1992</c:v>
                </c:pt>
                <c:pt idx="9">
                  <c:v>3.6566000000000005</c:v>
                </c:pt>
                <c:pt idx="10">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C$2:$C$12</c:f>
              <c:numCache>
                <c:formatCode>General</c:formatCode>
                <c:ptCount val="11"/>
                <c:pt idx="0">
                  <c:v>3.067845066222738</c:v>
                </c:pt>
                <c:pt idx="1">
                  <c:v>6.233713223140496</c:v>
                </c:pt>
                <c:pt idx="2">
                  <c:v>2.8434209267930792</c:v>
                </c:pt>
                <c:pt idx="3">
                  <c:v>4.9948</c:v>
                </c:pt>
                <c:pt idx="4">
                  <c:v>2.390701797359631</c:v>
                </c:pt>
                <c:pt idx="5">
                  <c:v>1.6382184188810034</c:v>
                </c:pt>
                <c:pt idx="6">
                  <c:v>5.943010227653164</c:v>
                </c:pt>
                <c:pt idx="7">
                  <c:v>2.536511904761905</c:v>
                </c:pt>
                <c:pt idx="8">
                  <c:v>2.1175</c:v>
                </c:pt>
                <c:pt idx="9">
                  <c:v>2.3597</c:v>
                </c:pt>
                <c:pt idx="10">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D$2:$D$12</c:f>
              <c:numCache>
                <c:formatCode>General</c:formatCode>
                <c:ptCount val="11"/>
                <c:pt idx="0">
                  <c:v>4.683508421164115</c:v>
                </c:pt>
                <c:pt idx="1">
                  <c:v>5.771711167797839</c:v>
                </c:pt>
                <c:pt idx="2">
                  <c:v>3.9015932615950515</c:v>
                </c:pt>
                <c:pt idx="3">
                  <c:v>1.9227027413210482</c:v>
                </c:pt>
                <c:pt idx="4">
                  <c:v>3.505060028630509</c:v>
                </c:pt>
                <c:pt idx="5">
                  <c:v>2.3440792374979385</c:v>
                </c:pt>
                <c:pt idx="6">
                  <c:v>5.477194877803816</c:v>
                </c:pt>
                <c:pt idx="7">
                  <c:v>4.677202474937342</c:v>
                </c:pt>
                <c:pt idx="8">
                  <c:v>-4.146964765525983</c:v>
                </c:pt>
                <c:pt idx="9">
                  <c:v>-2.4417807692307667</c:v>
                </c:pt>
                <c:pt idx="10">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9</c:v>
                </c:pt>
                <c:pt idx="1">
                  <c:v>Av Price/Unit 26.20</c:v>
                </c:pt>
                <c:pt idx="2">
                  <c:v>Av Price/Unit 9.96</c:v>
                </c:pt>
                <c:pt idx="3">
                  <c:v>Av Price/Unit 8.62</c:v>
                </c:pt>
                <c:pt idx="4">
                  <c:v>Av Price/Unit 9.54</c:v>
                </c:pt>
                <c:pt idx="5">
                  <c:v>Av Price/Unit 8.35</c:v>
                </c:pt>
                <c:pt idx="6">
                  <c:v>Av Price/Unit 14.93</c:v>
                </c:pt>
                <c:pt idx="7">
                  <c:v>Av Price/Unit 13.53</c:v>
                </c:pt>
                <c:pt idx="8">
                  <c:v>Av Price/Unit 6.05</c:v>
                </c:pt>
                <c:pt idx="9">
                  <c:v>Av Price/Unit 3.54</c:v>
                </c:pt>
                <c:pt idx="10">
                  <c:v>Av Price/Unit 3.71</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B$2:$B$6</c:f>
              <c:numCache>
                <c:formatCode>General</c:formatCode>
                <c:ptCount val="5"/>
                <c:pt idx="0">
                  <c:v>3.731684971057627</c:v>
                </c:pt>
                <c:pt idx="1">
                  <c:v>6.477163538161375</c:v>
                </c:pt>
                <c:pt idx="2">
                  <c:v>1.8129275374529839</c:v>
                </c:pt>
                <c:pt idx="3">
                  <c:v>8.009000000000002</c:v>
                </c:pt>
                <c:pt idx="4">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C$2:$C$6</c:f>
              <c:numCache>
                <c:formatCode>General</c:formatCode>
                <c:ptCount val="5"/>
                <c:pt idx="0">
                  <c:v>1.368215028942373</c:v>
                </c:pt>
                <c:pt idx="1">
                  <c:v>2.6577364618386254</c:v>
                </c:pt>
                <c:pt idx="2">
                  <c:v>2.5053724625470166</c:v>
                </c:pt>
                <c:pt idx="3">
                  <c:v>3.7053000000000003</c:v>
                </c:pt>
                <c:pt idx="4">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D$2:$D$6</c:f>
              <c:numCache>
                <c:formatCode>General</c:formatCode>
                <c:ptCount val="5"/>
                <c:pt idx="0">
                  <c:v>3.8479765070735015</c:v>
                </c:pt>
                <c:pt idx="1">
                  <c:v>6.164408628882589</c:v>
                </c:pt>
                <c:pt idx="2">
                  <c:v>4.1225074155841375</c:v>
                </c:pt>
                <c:pt idx="3">
                  <c:v>7.765849191877331</c:v>
                </c:pt>
                <c:pt idx="4">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B$2:$B$9</c:f>
              <c:numCache>
                <c:formatCode>General</c:formatCode>
                <c:ptCount val="8"/>
                <c:pt idx="0">
                  <c:v>3.233711386309951</c:v>
                </c:pt>
                <c:pt idx="1">
                  <c:v>5.054899165457547</c:v>
                </c:pt>
                <c:pt idx="2">
                  <c:v>2.542119626734359</c:v>
                </c:pt>
                <c:pt idx="3">
                  <c:v>5.02659039075498</c:v>
                </c:pt>
                <c:pt idx="4">
                  <c:v>2.2291999999999996</c:v>
                </c:pt>
                <c:pt idx="5">
                  <c:v>4.7177</c:v>
                </c:pt>
                <c:pt idx="6">
                  <c:v>2.6842</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C$2:$C$9</c:f>
              <c:numCache>
                <c:formatCode>General</c:formatCode>
                <c:ptCount val="8"/>
                <c:pt idx="0">
                  <c:v>0.9783532936787319</c:v>
                </c:pt>
                <c:pt idx="1">
                  <c:v>2.704414323310152</c:v>
                </c:pt>
                <c:pt idx="2">
                  <c:v>1.5464536791312902</c:v>
                </c:pt>
                <c:pt idx="3">
                  <c:v>4.5703</c:v>
                </c:pt>
                <c:pt idx="4">
                  <c:v>4.399799999999999</c:v>
                </c:pt>
                <c:pt idx="5">
                  <c:v>2.7761000000000005</c:v>
                </c:pt>
                <c:pt idx="6">
                  <c:v>1.5422000000000002</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D$2:$D$9</c:f>
              <c:numCache>
                <c:formatCode>General</c:formatCode>
                <c:ptCount val="8"/>
                <c:pt idx="0">
                  <c:v>2.285114535560834</c:v>
                </c:pt>
                <c:pt idx="1">
                  <c:v>3.247973158553058</c:v>
                </c:pt>
                <c:pt idx="2">
                  <c:v>2.403455607478132</c:v>
                </c:pt>
                <c:pt idx="3">
                  <c:v>5.42089618038381</c:v>
                </c:pt>
                <c:pt idx="4">
                  <c:v>2.335967770032089</c:v>
                </c:pt>
                <c:pt idx="5">
                  <c:v>3.516074412807976</c:v>
                </c:pt>
                <c:pt idx="6">
                  <c:v>2.2714615812527894</c:v>
                </c:pt>
                <c:pt idx="7">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37819208969</c:v>
                </c:pt>
                <c:pt idx="1">
                  <c:v>-0.003430243957590782</c:v>
                </c:pt>
                <c:pt idx="2">
                  <c:v>1.7056911935876407</c:v>
                </c:pt>
                <c:pt idx="3">
                  <c:v>1.1328696165771632</c:v>
                </c:pt>
                <c:pt idx="4">
                  <c:v>0.8624432843284106</c:v>
                </c:pt>
                <c:pt idx="5">
                  <c:v>0.00739726452242194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621807910314</c:v>
                </c:pt>
                <c:pt idx="1">
                  <c:v>1.3028827290688574</c:v>
                </c:pt>
                <c:pt idx="2">
                  <c:v>1.5965622189302155</c:v>
                </c:pt>
                <c:pt idx="3">
                  <c:v>1.1631303834228373</c:v>
                </c:pt>
                <c:pt idx="4">
                  <c:v>0.9352138114366597</c:v>
                </c:pt>
                <c:pt idx="5">
                  <c:v>0.69604793428167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544815258828254</c:v>
                </c:pt>
                <c:pt idx="1">
                  <c:v>0.8778978962155624</c:v>
                </c:pt>
                <c:pt idx="2">
                  <c:v>2.67736377440347</c:v>
                </c:pt>
                <c:pt idx="3">
                  <c:v>1.8581278447161123</c:v>
                </c:pt>
                <c:pt idx="4">
                  <c:v>2.174250147950246</c:v>
                </c:pt>
                <c:pt idx="5">
                  <c:v>0.30000360544050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3D7A4CD-92EF-4AFF-BE54-503964217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77DC713-6349-4419-A86B-7DC116114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E9DC5CC-FBD9-4C29-9C79-BF6D4F5DA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444D14F-C2B8-4AF1-82AD-9DF8F1867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FE8896A-7261-467A-821F-9895B803B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CCB5FA9-95F2-4CF8-8E52-31FB8D792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F244DFC-DC65-4682-BD1B-B5FBE5A19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A4E4DFC-2940-4368-A1D7-0B7BEA3BD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24</c:v>
                </c:pt>
                <c:pt idx="1">
                  <c:v>1.3228</c:v>
                </c:pt>
                <c:pt idx="2">
                  <c:v>1.3365</c:v>
                </c:pt>
              </c:numCache>
            </c:numRef>
          </c:xVal>
          <c:yVal>
            <c:numRef>
              <c:f>Sheet1!$B$2:$B$4</c:f>
              <c:numCache>
                <c:formatCode>General</c:formatCode>
                <c:ptCount val="3"/>
                <c:pt idx="0">
                  <c:v>0.6553</c:v>
                </c:pt>
                <c:pt idx="1">
                  <c:v>0.6533</c:v>
                </c:pt>
                <c:pt idx="2">
                  <c:v>0.6511</c:v>
                </c:pt>
              </c:numCache>
            </c:numRef>
          </c:yVal>
          <c:bubbleSize>
            <c:numRef>
              <c:f>Sheet1!$C$2:$C$4</c:f>
              <c:numCache>
                <c:formatCode>General</c:formatCode>
                <c:ptCount val="3"/>
                <c:pt idx="0">
                  <c:v>4851507.5233000005</c:v>
                </c:pt>
                <c:pt idx="1">
                  <c:v>356505.122</c:v>
                </c:pt>
                <c:pt idx="2">
                  <c:v>386945.9783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038"/>
          <c:min val="1.0582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8820910375681"/>
        <c:crossBetween val="midCat"/>
      </c:valAx>
      <c:valAx>
        <c:axId val="1011451359"/>
        <c:scaling>
          <c:orientation val="minMax"/>
          <c:max val="1.14636"/>
          <c:min val="0.280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78803417149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B$2:$B$9</c:f>
              <c:numCache>
                <c:formatCode>General</c:formatCode>
                <c:ptCount val="8"/>
                <c:pt idx="0">
                  <c:v>3.2338951948404397</c:v>
                </c:pt>
                <c:pt idx="1">
                  <c:v>5.055853692924589</c:v>
                </c:pt>
                <c:pt idx="2">
                  <c:v>2.5421692679824663</c:v>
                </c:pt>
                <c:pt idx="3">
                  <c:v>5.025506923942544</c:v>
                </c:pt>
                <c:pt idx="4">
                  <c:v>4.7177</c:v>
                </c:pt>
                <c:pt idx="5">
                  <c:v>4.8102</c:v>
                </c:pt>
                <c:pt idx="6">
                  <c:v>2.6842000000000006</c:v>
                </c:pt>
                <c:pt idx="7">
                  <c:v>2.22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C$2:$C$9</c:f>
              <c:numCache>
                <c:formatCode>General</c:formatCode>
                <c:ptCount val="8"/>
                <c:pt idx="0">
                  <c:v>0.97840348493798</c:v>
                </c:pt>
                <c:pt idx="1">
                  <c:v>2.7044202431768203</c:v>
                </c:pt>
                <c:pt idx="2">
                  <c:v>1.5464539916872968</c:v>
                </c:pt>
                <c:pt idx="3">
                  <c:v>4.5703000000000005</c:v>
                </c:pt>
                <c:pt idx="4">
                  <c:v>2.7761</c:v>
                </c:pt>
                <c:pt idx="5">
                  <c:v>5.0165</c:v>
                </c:pt>
                <c:pt idx="6">
                  <c:v>1.5422000000000002</c:v>
                </c:pt>
                <c:pt idx="7">
                  <c:v>4.3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D$2:$D$9</c:f>
              <c:numCache>
                <c:formatCode>General</c:formatCode>
                <c:ptCount val="8"/>
                <c:pt idx="0">
                  <c:v>2.3483884101467103</c:v>
                </c:pt>
                <c:pt idx="1">
                  <c:v>3.3410780494114602</c:v>
                </c:pt>
                <c:pt idx="2">
                  <c:v>2.4553521610756546</c:v>
                </c:pt>
                <c:pt idx="3">
                  <c:v>5.5877503673793605</c:v>
                </c:pt>
                <c:pt idx="4">
                  <c:v>3.6403016238868506</c:v>
                </c:pt>
                <c:pt idx="5">
                  <c:v>5.383490984284535</c:v>
                </c:pt>
                <c:pt idx="6">
                  <c:v>2.3442510388437228</c:v>
                </c:pt>
                <c:pt idx="7">
                  <c:v>2.97549560439560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B$2:$B$7</c:f>
              <c:numCache>
                <c:formatCode>General</c:formatCode>
                <c:ptCount val="6"/>
                <c:pt idx="0">
                  <c:v>1.3914279917437642</c:v>
                </c:pt>
                <c:pt idx="1">
                  <c:v>-0.004182630964775597</c:v>
                </c:pt>
                <c:pt idx="2">
                  <c:v>1.7060376426209658</c:v>
                </c:pt>
                <c:pt idx="3">
                  <c:v>1.1327056411257408</c:v>
                </c:pt>
                <c:pt idx="4">
                  <c:v>0.8628219693309717</c:v>
                </c:pt>
                <c:pt idx="5">
                  <c:v>0.0072837201226922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C$2:$C$7</c:f>
              <c:numCache>
                <c:formatCode>General</c:formatCode>
                <c:ptCount val="6"/>
                <c:pt idx="0">
                  <c:v>1.4418720082562353</c:v>
                </c:pt>
                <c:pt idx="1">
                  <c:v>1.3036357652451591</c:v>
                </c:pt>
                <c:pt idx="2">
                  <c:v>1.5962159688911657</c:v>
                </c:pt>
                <c:pt idx="3">
                  <c:v>1.1632943588742595</c:v>
                </c:pt>
                <c:pt idx="4">
                  <c:v>0.9348355467282192</c:v>
                </c:pt>
                <c:pt idx="5">
                  <c:v>0.696161294056369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D$2:$D$7</c:f>
              <c:numCache>
                <c:formatCode>General</c:formatCode>
                <c:ptCount val="6"/>
                <c:pt idx="0">
                  <c:v>2.7080953403413917</c:v>
                </c:pt>
                <c:pt idx="1">
                  <c:v>0.8782383366757269</c:v>
                </c:pt>
                <c:pt idx="2">
                  <c:v>2.679071955478973</c:v>
                </c:pt>
                <c:pt idx="3">
                  <c:v>1.9032435337331868</c:v>
                </c:pt>
                <c:pt idx="4">
                  <c:v>2.2055028915490187</c:v>
                </c:pt>
                <c:pt idx="5">
                  <c:v>0.314177075392921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B$2:$B$8</c:f>
              <c:numCache>
                <c:formatCode>General</c:formatCode>
                <c:ptCount val="7"/>
                <c:pt idx="0">
                  <c:v>5.061522740760723</c:v>
                </c:pt>
                <c:pt idx="1">
                  <c:v>3.2334426633358953</c:v>
                </c:pt>
                <c:pt idx="2">
                  <c:v>2.5448640435753433</c:v>
                </c:pt>
                <c:pt idx="3">
                  <c:v>5.040524876695438</c:v>
                </c:pt>
                <c:pt idx="4">
                  <c:v>4.7177</c:v>
                </c:pt>
                <c:pt idx="5">
                  <c:v>2.6842</c:v>
                </c:pt>
                <c:pt idx="6">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C$2:$C$8</c:f>
              <c:numCache>
                <c:formatCode>General</c:formatCode>
                <c:ptCount val="7"/>
                <c:pt idx="0">
                  <c:v>2.7044554019422713</c:v>
                </c:pt>
                <c:pt idx="1">
                  <c:v>0.978279915449654</c:v>
                </c:pt>
                <c:pt idx="2">
                  <c:v>1.546470958792882</c:v>
                </c:pt>
                <c:pt idx="3">
                  <c:v>4.5703</c:v>
                </c:pt>
                <c:pt idx="4">
                  <c:v>2.7761</c:v>
                </c:pt>
                <c:pt idx="5">
                  <c:v>1.5422</c:v>
                </c:pt>
                <c:pt idx="6">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D$2:$D$8</c:f>
              <c:numCache>
                <c:formatCode>General</c:formatCode>
                <c:ptCount val="7"/>
                <c:pt idx="0">
                  <c:v>3.261581818181818</c:v>
                </c:pt>
                <c:pt idx="1">
                  <c:v>2.299730149884703</c:v>
                </c:pt>
                <c:pt idx="2">
                  <c:v>2.408151879919706</c:v>
                </c:pt>
                <c:pt idx="3">
                  <c:v>5.370473931360461</c:v>
                </c:pt>
                <c:pt idx="4">
                  <c:v>3.5501560439560427</c:v>
                </c:pt>
                <c:pt idx="5">
                  <c:v>2.282073205741627</c:v>
                </c:pt>
                <c:pt idx="6">
                  <c:v>5.19444377104377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E$2:$E$8</c:f>
              <c:numCache>
                <c:formatCode>General</c:formatCode>
                <c:ptCount val="7"/>
                <c:pt idx="0">
                  <c:v>0.0</c:v>
                </c:pt>
                <c:pt idx="1">
                  <c:v>0.0</c:v>
                </c:pt>
                <c:pt idx="2">
                  <c:v>0.0</c:v>
                </c:pt>
                <c:pt idx="3">
                  <c:v>0.0</c:v>
                </c:pt>
                <c:pt idx="4">
                  <c:v>0.0</c:v>
                </c:pt>
                <c:pt idx="5">
                  <c:v>0.0</c:v>
                </c:pt>
                <c:pt idx="6">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B$2:$B$7</c:f>
              <c:numCache>
                <c:formatCode>General</c:formatCode>
                <c:ptCount val="6"/>
                <c:pt idx="0">
                  <c:v>1.3910074025933514</c:v>
                </c:pt>
                <c:pt idx="1">
                  <c:v>-0.0028238252861935344</c:v>
                </c:pt>
                <c:pt idx="2">
                  <c:v>1.7034869891422082</c:v>
                </c:pt>
                <c:pt idx="3">
                  <c:v>1.1333460349501125</c:v>
                </c:pt>
                <c:pt idx="4">
                  <c:v>0.008419116543434663</c:v>
                </c:pt>
                <c:pt idx="5">
                  <c:v>0.86092684926402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C$2:$C$7</c:f>
              <c:numCache>
                <c:formatCode>General</c:formatCode>
                <c:ptCount val="6"/>
                <c:pt idx="0">
                  <c:v>1.4422925974066485</c:v>
                </c:pt>
                <c:pt idx="1">
                  <c:v>1.3022757871716868</c:v>
                </c:pt>
                <c:pt idx="2">
                  <c:v>1.5987651573191026</c:v>
                </c:pt>
                <c:pt idx="3">
                  <c:v>1.1626539650498875</c:v>
                </c:pt>
                <c:pt idx="4">
                  <c:v>0.6950277438086686</c:v>
                </c:pt>
                <c:pt idx="5">
                  <c:v>0.93672856344326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D$2:$D$7</c:f>
              <c:numCache>
                <c:formatCode>General</c:formatCode>
                <c:ptCount val="6"/>
                <c:pt idx="0">
                  <c:v>2.66158920546122</c:v>
                </c:pt>
                <c:pt idx="1">
                  <c:v>0.8780065175509717</c:v>
                </c:pt>
                <c:pt idx="2">
                  <c:v>2.6723387340501414</c:v>
                </c:pt>
                <c:pt idx="3">
                  <c:v>1.8636544225926142</c:v>
                </c:pt>
                <c:pt idx="4">
                  <c:v>0.30592544320460635</c:v>
                </c:pt>
                <c:pt idx="5">
                  <c:v>2.17838279553500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B$2:$B$9</c:f>
              <c:numCache>
                <c:formatCode>General</c:formatCode>
                <c:ptCount val="8"/>
                <c:pt idx="0">
                  <c:v>3.233715215106926</c:v>
                </c:pt>
                <c:pt idx="1">
                  <c:v>5.054232970869206</c:v>
                </c:pt>
                <c:pt idx="2">
                  <c:v>2.541888380255395</c:v>
                </c:pt>
                <c:pt idx="3">
                  <c:v>5.025910217783153</c:v>
                </c:pt>
                <c:pt idx="4">
                  <c:v>2.2291999999999996</c:v>
                </c:pt>
                <c:pt idx="5">
                  <c:v>4.7177</c:v>
                </c:pt>
                <c:pt idx="6">
                  <c:v>2.6841999999999997</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C$2:$C$9</c:f>
              <c:numCache>
                <c:formatCode>General</c:formatCode>
                <c:ptCount val="8"/>
                <c:pt idx="0">
                  <c:v>0.9783543391804891</c:v>
                </c:pt>
                <c:pt idx="1">
                  <c:v>2.7044101916499583</c:v>
                </c:pt>
                <c:pt idx="2">
                  <c:v>1.5464522231349414</c:v>
                </c:pt>
                <c:pt idx="3">
                  <c:v>4.5703</c:v>
                </c:pt>
                <c:pt idx="4">
                  <c:v>4.3998</c:v>
                </c:pt>
                <c:pt idx="5">
                  <c:v>2.7761</c:v>
                </c:pt>
                <c:pt idx="6">
                  <c:v>1.5421999999999998</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D$2:$D$9</c:f>
              <c:numCache>
                <c:formatCode>General</c:formatCode>
                <c:ptCount val="8"/>
                <c:pt idx="0">
                  <c:v>2.2777927239644518</c:v>
                </c:pt>
                <c:pt idx="1">
                  <c:v>3.2382940865668104</c:v>
                </c:pt>
                <c:pt idx="2">
                  <c:v>2.398801040997685</c:v>
                </c:pt>
                <c:pt idx="3">
                  <c:v>5.409317070708223</c:v>
                </c:pt>
                <c:pt idx="4">
                  <c:v>2.334137826183455</c:v>
                </c:pt>
                <c:pt idx="5">
                  <c:v>3.502975628196574</c:v>
                </c:pt>
                <c:pt idx="6">
                  <c:v>2.2649567847350456</c:v>
                </c:pt>
                <c:pt idx="7">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535853264212</c:v>
                </c:pt>
                <c:pt idx="1">
                  <c:v>-0.0034127103466726418</c:v>
                </c:pt>
                <c:pt idx="2">
                  <c:v>1.7058220196056355</c:v>
                </c:pt>
                <c:pt idx="3">
                  <c:v>1.132846593286125</c:v>
                </c:pt>
                <c:pt idx="4">
                  <c:v>0.862530590935272</c:v>
                </c:pt>
                <c:pt idx="5">
                  <c:v>0.007293137526888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46414673579</c:v>
                </c:pt>
                <c:pt idx="1">
                  <c:v>1.3028651803297155</c:v>
                </c:pt>
                <c:pt idx="2">
                  <c:v>1.5964314680564011</c:v>
                </c:pt>
                <c:pt idx="3">
                  <c:v>1.1631534067138753</c:v>
                </c:pt>
                <c:pt idx="4">
                  <c:v>0.9351266017294732</c:v>
                </c:pt>
                <c:pt idx="5">
                  <c:v>0.69615189196502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49763853189348</c:v>
                </c:pt>
                <c:pt idx="1">
                  <c:v>0.877855437315233</c:v>
                </c:pt>
                <c:pt idx="2">
                  <c:v>2.6775867628565373</c:v>
                </c:pt>
                <c:pt idx="3">
                  <c:v>1.8539354866522482</c:v>
                </c:pt>
                <c:pt idx="4">
                  <c:v>2.171707915321968</c:v>
                </c:pt>
                <c:pt idx="5">
                  <c:v>0.298174359801346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B$2:$B$5</c:f>
              <c:numCache>
                <c:formatCode>General</c:formatCode>
                <c:ptCount val="4"/>
                <c:pt idx="0">
                  <c:v>3.212840593782746</c:v>
                </c:pt>
                <c:pt idx="1">
                  <c:v>3.645284745762712</c:v>
                </c:pt>
                <c:pt idx="2">
                  <c:v>1.7043</c:v>
                </c:pt>
                <c:pt idx="3">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C$2:$C$5</c:f>
              <c:numCache>
                <c:formatCode>General</c:formatCode>
                <c:ptCount val="4"/>
                <c:pt idx="0">
                  <c:v>2.8433297031086266</c:v>
                </c:pt>
                <c:pt idx="1">
                  <c:v>2.3905322033898306</c:v>
                </c:pt>
                <c:pt idx="2">
                  <c:v>4.994799999999999</c:v>
                </c:pt>
                <c:pt idx="3">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D$2:$D$5</c:f>
              <c:numCache>
                <c:formatCode>General</c:formatCode>
                <c:ptCount val="4"/>
                <c:pt idx="0">
                  <c:v>3.9021842228431716</c:v>
                </c:pt>
                <c:pt idx="1">
                  <c:v>3.3728459510357807</c:v>
                </c:pt>
                <c:pt idx="2">
                  <c:v>2.7587833693304535</c:v>
                </c:pt>
                <c:pt idx="3">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9.41</c:v>
                </c:pt>
                <c:pt idx="2">
                  <c:v>Av Price/Unit 9.46</c:v>
                </c:pt>
                <c:pt idx="3">
                  <c:v>Av Price/Unit 15.05</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B$2:$B$2</c:f>
              <c:numCache>
                <c:formatCode>General</c:formatCode>
                <c:ptCount val="1"/>
                <c:pt idx="0">
                  <c:v>1.8114921319936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C$2:$C$2</c:f>
              <c:numCache>
                <c:formatCode>General</c:formatCode>
                <c:ptCount val="1"/>
                <c:pt idx="0">
                  <c:v>2.50680786800636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D$2:$D$2</c:f>
              <c:numCache>
                <c:formatCode>General</c:formatCode>
                <c:ptCount val="1"/>
                <c:pt idx="0">
                  <c:v>4.10848883215285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B$2:$B$6</c:f>
              <c:numCache>
                <c:formatCode>General</c:formatCode>
                <c:ptCount val="5"/>
                <c:pt idx="0">
                  <c:v>3.212480951011117</c:v>
                </c:pt>
                <c:pt idx="1">
                  <c:v>1.7043</c:v>
                </c:pt>
                <c:pt idx="2">
                  <c:v>3.6424507269253144</c:v>
                </c:pt>
                <c:pt idx="3">
                  <c:v>3.5132081313391774</c:v>
                </c:pt>
                <c:pt idx="4">
                  <c:v>3.65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C$2:$C$6</c:f>
              <c:numCache>
                <c:formatCode>General</c:formatCode>
                <c:ptCount val="5"/>
                <c:pt idx="0">
                  <c:v>2.8435095244944413</c:v>
                </c:pt>
                <c:pt idx="1">
                  <c:v>4.9948</c:v>
                </c:pt>
                <c:pt idx="2">
                  <c:v>2.390709329567168</c:v>
                </c:pt>
                <c:pt idx="3">
                  <c:v>5.942967801272133</c:v>
                </c:pt>
                <c:pt idx="4">
                  <c:v>2.35970000000000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D$2:$D$6</c:f>
              <c:numCache>
                <c:formatCode>General</c:formatCode>
                <c:ptCount val="5"/>
                <c:pt idx="0">
                  <c:v>3.9013673510708635</c:v>
                </c:pt>
                <c:pt idx="1">
                  <c:v>1.9202117629885382</c:v>
                </c:pt>
                <c:pt idx="2">
                  <c:v>3.5119923901304313</c:v>
                </c:pt>
                <c:pt idx="3">
                  <c:v>5.474272769468797</c:v>
                </c:pt>
                <c:pt idx="4">
                  <c:v>-2.38839302325581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5</c:v>
                </c:pt>
                <c:pt idx="3">
                  <c:v>Av Price/Unit 14.93</c:v>
                </c:pt>
                <c:pt idx="4">
                  <c:v>Av Price/Unit 3.58</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9987786259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0012213740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305295729317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5979D45-30A4-4C7A-8528-6B54A065C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6ED1AFF-631B-4DEE-832A-33BAEAAC7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355A139-CC9D-4B06-9E8A-88030C557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4892088-CA9E-4B84-B5B3-070ECCF4D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4E22422-9196-4D3B-A85A-E89527C1D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AE19D42-3F3B-4C71-B75C-E29FC3540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9A651EF-F2FF-4963-B514-CBF8766EA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D3B8C6D-D17F-46EF-849B-97691AFAB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6572</c:v>
                </c:pt>
                <c:pt idx="1">
                  <c:v>0.6293</c:v>
                </c:pt>
                <c:pt idx="2">
                  <c:v>0.644</c:v>
                </c:pt>
              </c:numCache>
            </c:numRef>
          </c:xVal>
          <c:yVal>
            <c:numRef>
              <c:f>Sheet1!$B$2:$B$4</c:f>
              <c:numCache>
                <c:formatCode>General</c:formatCode>
                <c:ptCount val="3"/>
                <c:pt idx="0">
                  <c:v>0.6256</c:v>
                </c:pt>
                <c:pt idx="1">
                  <c:v>0.6528</c:v>
                </c:pt>
                <c:pt idx="2">
                  <c:v>0.6584</c:v>
                </c:pt>
              </c:numCache>
            </c:numRef>
          </c:yVal>
          <c:bubbleSize>
            <c:numRef>
              <c:f>Sheet1!$C$2:$C$4</c:f>
              <c:numCache>
                <c:formatCode>General</c:formatCode>
                <c:ptCount val="3"/>
                <c:pt idx="0">
                  <c:v>10963215.676699998</c:v>
                </c:pt>
                <c:pt idx="1">
                  <c:v>907060.7619999998</c:v>
                </c:pt>
                <c:pt idx="2">
                  <c:v>786080.11560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78864"/>
          <c:min val="0.503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5865723047237"/>
        <c:crossBetween val="midCat"/>
      </c:valAx>
      <c:valAx>
        <c:axId val="1011451359"/>
        <c:scaling>
          <c:orientation val="minMax"/>
          <c:max val="1.1500799999999998"/>
          <c:min val="0.26048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54380606232715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B$2:$B$2</c:f>
              <c:numCache>
                <c:formatCode>General</c:formatCode>
                <c:ptCount val="1"/>
                <c:pt idx="0">
                  <c:v>3.21468369595152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C$2:$C$2</c:f>
              <c:numCache>
                <c:formatCode>General</c:formatCode>
                <c:ptCount val="1"/>
                <c:pt idx="0">
                  <c:v>2.84240815202423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D$2:$D$2</c:f>
              <c:numCache>
                <c:formatCode>General</c:formatCode>
                <c:ptCount val="1"/>
                <c:pt idx="0">
                  <c:v>3.90382248347562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B$2:$B$2</c:f>
              <c:numCache>
                <c:formatCode>General</c:formatCode>
                <c:ptCount val="1"/>
                <c:pt idx="0">
                  <c:v>1.81334308256526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C$2:$C$2</c:f>
              <c:numCache>
                <c:formatCode>General</c:formatCode>
                <c:ptCount val="1"/>
                <c:pt idx="0">
                  <c:v>2.5049569174347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D$2:$D$2</c:f>
              <c:numCache>
                <c:formatCode>General</c:formatCode>
                <c:ptCount val="1"/>
                <c:pt idx="0">
                  <c:v>4.1284480818414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B$2:$B$6</c:f>
              <c:numCache>
                <c:formatCode>General</c:formatCode>
                <c:ptCount val="5"/>
                <c:pt idx="0">
                  <c:v>3.2126581464138413</c:v>
                </c:pt>
                <c:pt idx="1">
                  <c:v>1.7043</c:v>
                </c:pt>
                <c:pt idx="2">
                  <c:v>3.642571242245906</c:v>
                </c:pt>
                <c:pt idx="3">
                  <c:v>3.513407984599932</c:v>
                </c:pt>
                <c:pt idx="4">
                  <c:v>3.65660000000000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C$2:$C$6</c:f>
              <c:numCache>
                <c:formatCode>General</c:formatCode>
                <c:ptCount val="5"/>
                <c:pt idx="0">
                  <c:v>2.8434209267930792</c:v>
                </c:pt>
                <c:pt idx="1">
                  <c:v>4.9948</c:v>
                </c:pt>
                <c:pt idx="2">
                  <c:v>2.390701797359631</c:v>
                </c:pt>
                <c:pt idx="3">
                  <c:v>5.943010227653164</c:v>
                </c:pt>
                <c:pt idx="4">
                  <c:v>2.35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D$2:$D$6</c:f>
              <c:numCache>
                <c:formatCode>General</c:formatCode>
                <c:ptCount val="5"/>
                <c:pt idx="0">
                  <c:v>3.9015932615950515</c:v>
                </c:pt>
                <c:pt idx="1">
                  <c:v>1.9227027413210482</c:v>
                </c:pt>
                <c:pt idx="2">
                  <c:v>3.505060028630509</c:v>
                </c:pt>
                <c:pt idx="3">
                  <c:v>5.477194877803816</c:v>
                </c:pt>
                <c:pt idx="4">
                  <c:v>-2.44178076923076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9.96</c:v>
                </c:pt>
                <c:pt idx="1">
                  <c:v>Av Price/Unit 8.62</c:v>
                </c:pt>
                <c:pt idx="2">
                  <c:v>Av Price/Unit 9.54</c:v>
                </c:pt>
                <c:pt idx="3">
                  <c:v>Av Price/Unit 14.93</c:v>
                </c:pt>
                <c:pt idx="4">
                  <c:v>Av Price/Unit 3.54</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2753745298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7246254701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250741558413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B$2:$B$7</c:f>
              <c:numCache>
                <c:formatCode>General</c:formatCode>
                <c:ptCount val="6"/>
                <c:pt idx="0">
                  <c:v>6.839531646239956</c:v>
                </c:pt>
                <c:pt idx="1">
                  <c:v>14.192114738292009</c:v>
                </c:pt>
                <c:pt idx="2">
                  <c:v>4.363833966000991</c:v>
                </c:pt>
                <c:pt idx="3">
                  <c:v>6.320834774436092</c:v>
                </c:pt>
                <c:pt idx="4">
                  <c:v>8.1992</c:v>
                </c:pt>
                <c:pt idx="5">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C$2:$C$7</c:f>
              <c:numCache>
                <c:formatCode>General</c:formatCode>
                <c:ptCount val="6"/>
                <c:pt idx="0">
                  <c:v>3.067845066222738</c:v>
                </c:pt>
                <c:pt idx="1">
                  <c:v>6.233713223140496</c:v>
                </c:pt>
                <c:pt idx="2">
                  <c:v>1.6382184188810034</c:v>
                </c:pt>
                <c:pt idx="3">
                  <c:v>2.536511904761905</c:v>
                </c:pt>
                <c:pt idx="4">
                  <c:v>2.1175</c:v>
                </c:pt>
                <c:pt idx="5">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D$2:$D$7</c:f>
              <c:numCache>
                <c:formatCode>General</c:formatCode>
                <c:ptCount val="6"/>
                <c:pt idx="0">
                  <c:v>4.683508421164115</c:v>
                </c:pt>
                <c:pt idx="1">
                  <c:v>5.771711167797839</c:v>
                </c:pt>
                <c:pt idx="2">
                  <c:v>2.3440792374979385</c:v>
                </c:pt>
                <c:pt idx="3">
                  <c:v>4.677202474937342</c:v>
                </c:pt>
                <c:pt idx="4">
                  <c:v>-4.146964765525983</c:v>
                </c:pt>
                <c:pt idx="5">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5</c:v>
                </c:pt>
                <c:pt idx="3">
                  <c:v>Av Price/Unit 13.53</c:v>
                </c:pt>
                <c:pt idx="4">
                  <c:v>Av Price/Unit 6.05</c:v>
                </c:pt>
                <c:pt idx="5">
                  <c:v>Av Price/Unit 3.71</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B$2:$B$5</c:f>
              <c:numCache>
                <c:formatCode>General</c:formatCode>
                <c:ptCount val="4"/>
                <c:pt idx="0">
                  <c:v>3.731684971057627</c:v>
                </c:pt>
                <c:pt idx="1">
                  <c:v>6.477163538161375</c:v>
                </c:pt>
                <c:pt idx="2">
                  <c:v>8.009000000000002</c:v>
                </c:pt>
                <c:pt idx="3">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C$2:$C$5</c:f>
              <c:numCache>
                <c:formatCode>General</c:formatCode>
                <c:ptCount val="4"/>
                <c:pt idx="0">
                  <c:v>1.368215028942373</c:v>
                </c:pt>
                <c:pt idx="1">
                  <c:v>2.6577364618386254</c:v>
                </c:pt>
                <c:pt idx="2">
                  <c:v>3.7053000000000003</c:v>
                </c:pt>
                <c:pt idx="3">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D$2:$D$5</c:f>
              <c:numCache>
                <c:formatCode>General</c:formatCode>
                <c:ptCount val="4"/>
                <c:pt idx="0">
                  <c:v>3.8479765070735015</c:v>
                </c:pt>
                <c:pt idx="1">
                  <c:v>6.164408628882589</c:v>
                </c:pt>
                <c:pt idx="2">
                  <c:v>7.765849191877331</c:v>
                </c:pt>
                <c:pt idx="3">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B$2:$B$4</c:f>
              <c:numCache>
                <c:formatCode>General</c:formatCode>
                <c:ptCount val="3"/>
                <c:pt idx="0">
                  <c:v>6.851935325602143</c:v>
                </c:pt>
                <c:pt idx="1">
                  <c:v>14.210997661380745</c:v>
                </c:pt>
                <c:pt idx="2">
                  <c:v>4.36266078431372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C$2:$C$4</c:f>
              <c:numCache>
                <c:formatCode>General</c:formatCode>
                <c:ptCount val="3"/>
                <c:pt idx="0">
                  <c:v>3.0701073392263396</c:v>
                </c:pt>
                <c:pt idx="1">
                  <c:v>6.237651513695339</c:v>
                </c:pt>
                <c:pt idx="2">
                  <c:v>1.63938431372549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D$2:$D$4</c:f>
              <c:numCache>
                <c:formatCode>General</c:formatCode>
                <c:ptCount val="3"/>
                <c:pt idx="0">
                  <c:v>4.685078760846647</c:v>
                </c:pt>
                <c:pt idx="1">
                  <c:v>5.746769694057345</c:v>
                </c:pt>
                <c:pt idx="2">
                  <c:v>1.5255292335115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B$2:$B$4</c:f>
              <c:numCache>
                <c:formatCode>General</c:formatCode>
                <c:ptCount val="3"/>
                <c:pt idx="0">
                  <c:v>3.731427616800377</c:v>
                </c:pt>
                <c:pt idx="1">
                  <c:v>6.47716304556610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C$2:$C$4</c:f>
              <c:numCache>
                <c:formatCode>General</c:formatCode>
                <c:ptCount val="3"/>
                <c:pt idx="0">
                  <c:v>1.3684723831996224</c:v>
                </c:pt>
                <c:pt idx="1">
                  <c:v>2.6577369544338914</c:v>
                </c:pt>
                <c:pt idx="2">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D$2:$D$4</c:f>
              <c:numCache>
                <c:formatCode>General</c:formatCode>
                <c:ptCount val="3"/>
                <c:pt idx="0">
                  <c:v>3.8343604341670616</c:v>
                </c:pt>
                <c:pt idx="1">
                  <c:v>5.989739846334434</c:v>
                </c:pt>
                <c:pt idx="2">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B$2:$B$4</c:f>
              <c:numCache>
                <c:formatCode>General</c:formatCode>
                <c:ptCount val="3"/>
                <c:pt idx="0">
                  <c:v>6.834024652851955</c:v>
                </c:pt>
                <c:pt idx="1">
                  <c:v>8.1992</c:v>
                </c:pt>
                <c:pt idx="2">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C$2:$C$4</c:f>
              <c:numCache>
                <c:formatCode>General</c:formatCode>
                <c:ptCount val="3"/>
                <c:pt idx="0">
                  <c:v>3.066840660827458</c:v>
                </c:pt>
                <c:pt idx="1">
                  <c:v>2.1174999999999997</c:v>
                </c:pt>
                <c:pt idx="2">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D$2:$D$4</c:f>
              <c:numCache>
                <c:formatCode>General</c:formatCode>
                <c:ptCount val="3"/>
                <c:pt idx="0">
                  <c:v>4.6694399772128445</c:v>
                </c:pt>
                <c:pt idx="1">
                  <c:v>-4.9168</c:v>
                </c:pt>
                <c:pt idx="2">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B$2:$B$4</c:f>
              <c:numCache>
                <c:formatCode>General</c:formatCode>
                <c:ptCount val="3"/>
                <c:pt idx="0">
                  <c:v>3.7319013056942776</c:v>
                </c:pt>
                <c:pt idx="1">
                  <c:v>6.47715481105112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C$2:$C$4</c:f>
              <c:numCache>
                <c:formatCode>General</c:formatCode>
                <c:ptCount val="3"/>
                <c:pt idx="0">
                  <c:v>1.3679986943057223</c:v>
                </c:pt>
                <c:pt idx="1">
                  <c:v>2.6577451889488724</c:v>
                </c:pt>
                <c:pt idx="2">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D$2:$D$4</c:f>
              <c:numCache>
                <c:formatCode>General</c:formatCode>
                <c:ptCount val="3"/>
                <c:pt idx="0">
                  <c:v>3.8513384342828445</c:v>
                </c:pt>
                <c:pt idx="1">
                  <c:v>5.099460114322007</c:v>
                </c:pt>
                <c:pt idx="2">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AF499CF-E83C-4E79-A864-3F093A9F1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6666A51-3996-4F9E-B90C-3C5BDC2AF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8562547-A80A-4802-9C68-DD2B1850C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B9EA81F-3565-472E-9E4C-3AADD151E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6995CB9-F9FD-43FD-A7E2-7CA70A0D6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9FDA2C8-9840-4646-8F46-0568AB7E1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22EA84C-7E14-424A-98CB-9B5B57C8A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048890E-BB6D-44ED-942D-6011B6258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2993</c:v>
                </c:pt>
                <c:pt idx="1">
                  <c:v>0.2814</c:v>
                </c:pt>
                <c:pt idx="2">
                  <c:v>0.2675</c:v>
                </c:pt>
              </c:numCache>
            </c:numRef>
          </c:xVal>
          <c:yVal>
            <c:numRef>
              <c:f>Sheet1!$B$2:$B$4</c:f>
              <c:numCache>
                <c:formatCode>General</c:formatCode>
                <c:ptCount val="3"/>
                <c:pt idx="0">
                  <c:v>0.3686</c:v>
                </c:pt>
                <c:pt idx="1">
                  <c:v>0.3546</c:v>
                </c:pt>
                <c:pt idx="2">
                  <c:v>0.3388</c:v>
                </c:pt>
              </c:numCache>
            </c:numRef>
          </c:yVal>
          <c:bubbleSize>
            <c:numRef>
              <c:f>Sheet1!$C$2:$C$4</c:f>
              <c:numCache>
                <c:formatCode>General</c:formatCode>
                <c:ptCount val="3"/>
                <c:pt idx="0">
                  <c:v>11591402.168600002</c:v>
                </c:pt>
                <c:pt idx="1">
                  <c:v>952941.4383000003</c:v>
                </c:pt>
                <c:pt idx="2">
                  <c:v>912079.551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35916"/>
          <c:min val="0.2140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871310030966"/>
        <c:crossBetween val="midCat"/>
      </c:valAx>
      <c:valAx>
        <c:axId val="1011451359"/>
        <c:scaling>
          <c:orientation val="minMax"/>
          <c:max val="0.8023199999999999"/>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87696692918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B$2:$B$7</c:f>
              <c:numCache>
                <c:formatCode>General</c:formatCode>
                <c:ptCount val="6"/>
                <c:pt idx="0">
                  <c:v>6.8390522795495094</c:v>
                </c:pt>
                <c:pt idx="1">
                  <c:v>14.19104302177007</c:v>
                </c:pt>
                <c:pt idx="2">
                  <c:v>4.3638916493596405</c:v>
                </c:pt>
                <c:pt idx="3">
                  <c:v>6.342539987038238</c:v>
                </c:pt>
                <c:pt idx="4">
                  <c:v>8.1992</c:v>
                </c:pt>
                <c:pt idx="5">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C$2:$C$7</c:f>
              <c:numCache>
                <c:formatCode>General</c:formatCode>
                <c:ptCount val="6"/>
                <c:pt idx="0">
                  <c:v>3.067757635848979</c:v>
                </c:pt>
                <c:pt idx="1">
                  <c:v>6.233489702076728</c:v>
                </c:pt>
                <c:pt idx="2">
                  <c:v>1.6381610938040845</c:v>
                </c:pt>
                <c:pt idx="3">
                  <c:v>2.537953920933247</c:v>
                </c:pt>
                <c:pt idx="4">
                  <c:v>2.1174999999999997</c:v>
                </c:pt>
                <c:pt idx="5">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D$2:$D$7</c:f>
              <c:numCache>
                <c:formatCode>General</c:formatCode>
                <c:ptCount val="6"/>
                <c:pt idx="0">
                  <c:v>4.684638127418941</c:v>
                </c:pt>
                <c:pt idx="1">
                  <c:v>5.777374179174487</c:v>
                </c:pt>
                <c:pt idx="2">
                  <c:v>2.383673624091382</c:v>
                </c:pt>
                <c:pt idx="3">
                  <c:v>4.707410499027867</c:v>
                </c:pt>
                <c:pt idx="4">
                  <c:v>-4.032519063545149</c:v>
                </c:pt>
                <c:pt idx="5">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59</c:v>
                </c:pt>
                <c:pt idx="1">
                  <c:v>Av Price/Unit 26.20</c:v>
                </c:pt>
                <c:pt idx="2">
                  <c:v>Av Price/Unit 8.39</c:v>
                </c:pt>
                <c:pt idx="3">
                  <c:v>Av Price/Unit 13.59</c:v>
                </c:pt>
                <c:pt idx="4">
                  <c:v>Av Price/Unit 6.22</c:v>
                </c:pt>
                <c:pt idx="5">
                  <c:v>Av Price/Unit 3.7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B$2:$B$4</c:f>
              <c:numCache>
                <c:formatCode>General</c:formatCode>
                <c:ptCount val="3"/>
                <c:pt idx="0">
                  <c:v>3.731685929427754</c:v>
                </c:pt>
                <c:pt idx="1">
                  <c:v>6.477164216836477</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C$2:$C$4</c:f>
              <c:numCache>
                <c:formatCode>General</c:formatCode>
                <c:ptCount val="3"/>
                <c:pt idx="0">
                  <c:v>1.3682140705722463</c:v>
                </c:pt>
                <c:pt idx="1">
                  <c:v>2.6577357831635235</c:v>
                </c:pt>
                <c:pt idx="2">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D$2:$D$4</c:f>
              <c:numCache>
                <c:formatCode>General</c:formatCode>
                <c:ptCount val="3"/>
                <c:pt idx="0">
                  <c:v>3.848679181367342</c:v>
                </c:pt>
                <c:pt idx="1">
                  <c:v>6.255594305470023</c:v>
                </c:pt>
                <c:pt idx="2">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B$2:$B$13</c:f>
              <c:numCache>
                <c:formatCode>General</c:formatCode>
                <c:ptCount val="12"/>
                <c:pt idx="0">
                  <c:v>3.2338951948404397</c:v>
                </c:pt>
                <c:pt idx="1">
                  <c:v>6.851935325602143</c:v>
                </c:pt>
                <c:pt idx="2">
                  <c:v>5.055853692924589</c:v>
                </c:pt>
                <c:pt idx="3">
                  <c:v>2.5421692679824663</c:v>
                </c:pt>
                <c:pt idx="4">
                  <c:v>3.212840593782746</c:v>
                </c:pt>
                <c:pt idx="5">
                  <c:v>5.025506923942544</c:v>
                </c:pt>
                <c:pt idx="6">
                  <c:v>14.210997661380745</c:v>
                </c:pt>
                <c:pt idx="7">
                  <c:v>4.7177</c:v>
                </c:pt>
                <c:pt idx="8">
                  <c:v>4.8102</c:v>
                </c:pt>
                <c:pt idx="9">
                  <c:v>2.6842000000000006</c:v>
                </c:pt>
                <c:pt idx="10">
                  <c:v>4.362660784313727</c:v>
                </c:pt>
                <c:pt idx="11">
                  <c:v>3.6452847457627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C$2:$C$13</c:f>
              <c:numCache>
                <c:formatCode>General</c:formatCode>
                <c:ptCount val="12"/>
                <c:pt idx="0">
                  <c:v>0.97840348493798</c:v>
                </c:pt>
                <c:pt idx="1">
                  <c:v>3.0701073392263396</c:v>
                </c:pt>
                <c:pt idx="2">
                  <c:v>2.7044202431768203</c:v>
                </c:pt>
                <c:pt idx="3">
                  <c:v>1.5464539916872968</c:v>
                </c:pt>
                <c:pt idx="4">
                  <c:v>2.8433297031086266</c:v>
                </c:pt>
                <c:pt idx="5">
                  <c:v>4.5703000000000005</c:v>
                </c:pt>
                <c:pt idx="6">
                  <c:v>6.237651513695339</c:v>
                </c:pt>
                <c:pt idx="7">
                  <c:v>2.7761</c:v>
                </c:pt>
                <c:pt idx="8">
                  <c:v>5.0165</c:v>
                </c:pt>
                <c:pt idx="9">
                  <c:v>1.5422000000000002</c:v>
                </c:pt>
                <c:pt idx="10">
                  <c:v>1.6393843137254902</c:v>
                </c:pt>
                <c:pt idx="11">
                  <c:v>2.39053220338983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D$2:$D$13</c:f>
              <c:numCache>
                <c:formatCode>General</c:formatCode>
                <c:ptCount val="12"/>
                <c:pt idx="0">
                  <c:v>2.3483884101467103</c:v>
                </c:pt>
                <c:pt idx="1">
                  <c:v>4.685078760846647</c:v>
                </c:pt>
                <c:pt idx="2">
                  <c:v>3.3410780494114602</c:v>
                </c:pt>
                <c:pt idx="3">
                  <c:v>2.4553521610756546</c:v>
                </c:pt>
                <c:pt idx="4">
                  <c:v>3.9021842228431716</c:v>
                </c:pt>
                <c:pt idx="5">
                  <c:v>5.5877503673793605</c:v>
                </c:pt>
                <c:pt idx="6">
                  <c:v>5.746769694057345</c:v>
                </c:pt>
                <c:pt idx="7">
                  <c:v>3.6403016238868506</c:v>
                </c:pt>
                <c:pt idx="8">
                  <c:v>5.383490984284535</c:v>
                </c:pt>
                <c:pt idx="9">
                  <c:v>2.3442510388437228</c:v>
                </c:pt>
                <c:pt idx="10">
                  <c:v>1.5255292335115866</c:v>
                </c:pt>
                <c:pt idx="11">
                  <c:v>3.37284595103578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6.56</c:v>
                </c:pt>
                <c:pt idx="1">
                  <c:v>Av Price/Unit 14.61</c:v>
                </c:pt>
                <c:pt idx="2">
                  <c:v>Av Price/Unit 11.10</c:v>
                </c:pt>
                <c:pt idx="3">
                  <c:v>Av Price/Unit 6.54</c:v>
                </c:pt>
                <c:pt idx="4">
                  <c:v>Av Price/Unit 9.96</c:v>
                </c:pt>
                <c:pt idx="5">
                  <c:v>Av Price/Unit 15.18</c:v>
                </c:pt>
                <c:pt idx="6">
                  <c:v>Av Price/Unit 26.20</c:v>
                </c:pt>
                <c:pt idx="7">
                  <c:v>Av Price/Unit 11.13</c:v>
                </c:pt>
                <c:pt idx="8">
                  <c:v>Av Price/Unit 15.21</c:v>
                </c:pt>
                <c:pt idx="9">
                  <c:v>Av Price/Unit 6.57</c:v>
                </c:pt>
                <c:pt idx="10">
                  <c:v>Av Price/Unit 7.53</c:v>
                </c:pt>
                <c:pt idx="11">
                  <c:v>Av Price/Unit 9.4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B$2:$B$2</c:f>
              <c:numCache>
                <c:formatCode>General</c:formatCode>
                <c:ptCount val="1"/>
                <c:pt idx="0">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C$2:$C$2</c:f>
              <c:numCache>
                <c:formatCode>General</c:formatCode>
                <c:ptCount val="1"/>
                <c:pt idx="0">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D$2:$D$2</c:f>
              <c:numCache>
                <c:formatCode>General</c:formatCode>
                <c:ptCount val="1"/>
                <c:pt idx="0">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B$2:$B$11</c:f>
              <c:numCache>
                <c:formatCode>General</c:formatCode>
                <c:ptCount val="10"/>
                <c:pt idx="0">
                  <c:v>1.3914279917437642</c:v>
                </c:pt>
                <c:pt idx="1">
                  <c:v>-0.004182630964775597</c:v>
                </c:pt>
                <c:pt idx="2">
                  <c:v>3.731427616800377</c:v>
                </c:pt>
                <c:pt idx="3">
                  <c:v>1.7060376426209658</c:v>
                </c:pt>
                <c:pt idx="4">
                  <c:v>1.1327056411257408</c:v>
                </c:pt>
                <c:pt idx="5">
                  <c:v>0.8628219693309717</c:v>
                </c:pt>
                <c:pt idx="6">
                  <c:v>6.477163045566108</c:v>
                </c:pt>
                <c:pt idx="7">
                  <c:v>0.007283720122692286</c:v>
                </c:pt>
                <c:pt idx="8">
                  <c:v>1.811492131993631</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C$2:$C$11</c:f>
              <c:numCache>
                <c:formatCode>General</c:formatCode>
                <c:ptCount val="10"/>
                <c:pt idx="0">
                  <c:v>1.4418720082562353</c:v>
                </c:pt>
                <c:pt idx="1">
                  <c:v>1.3036357652451591</c:v>
                </c:pt>
                <c:pt idx="2">
                  <c:v>1.3684723831996224</c:v>
                </c:pt>
                <c:pt idx="3">
                  <c:v>1.5962159688911657</c:v>
                </c:pt>
                <c:pt idx="4">
                  <c:v>1.1632943588742595</c:v>
                </c:pt>
                <c:pt idx="5">
                  <c:v>0.9348355467282192</c:v>
                </c:pt>
                <c:pt idx="6">
                  <c:v>2.6577369544338914</c:v>
                </c:pt>
                <c:pt idx="7">
                  <c:v>0.6961612940563691</c:v>
                </c:pt>
                <c:pt idx="8">
                  <c:v>2.506807868006369</c:v>
                </c:pt>
                <c:pt idx="9">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D$2:$D$11</c:f>
              <c:numCache>
                <c:formatCode>General</c:formatCode>
                <c:ptCount val="10"/>
                <c:pt idx="0">
                  <c:v>2.7080953403413917</c:v>
                </c:pt>
                <c:pt idx="1">
                  <c:v>0.8782383366757269</c:v>
                </c:pt>
                <c:pt idx="2">
                  <c:v>3.8343604341670616</c:v>
                </c:pt>
                <c:pt idx="3">
                  <c:v>2.679071955478973</c:v>
                </c:pt>
                <c:pt idx="4">
                  <c:v>1.9032435337331868</c:v>
                </c:pt>
                <c:pt idx="5">
                  <c:v>2.2055028915490187</c:v>
                </c:pt>
                <c:pt idx="6">
                  <c:v>5.989739846334434</c:v>
                </c:pt>
                <c:pt idx="7">
                  <c:v>0.31417707539292106</c:v>
                </c:pt>
                <c:pt idx="8">
                  <c:v>4.108488832152858</c:v>
                </c:pt>
                <c:pt idx="9">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54</c:v>
                </c:pt>
                <c:pt idx="1">
                  <c:v>Av Price/Unit 2.18</c:v>
                </c:pt>
                <c:pt idx="2">
                  <c:v>Av Price/Unit 8.93</c:v>
                </c:pt>
                <c:pt idx="3">
                  <c:v>Av Price/Unit 5.98</c:v>
                </c:pt>
                <c:pt idx="4">
                  <c:v>Av Price/Unit 4.20</c:v>
                </c:pt>
                <c:pt idx="5">
                  <c:v>Av Price/Unit 4.00</c:v>
                </c:pt>
                <c:pt idx="6">
                  <c:v>Av Price/Unit 15.12</c:v>
                </c:pt>
                <c:pt idx="7">
                  <c:v>Av Price/Unit 1.02</c:v>
                </c:pt>
                <c:pt idx="8">
                  <c:v>Av Price/Unit 8.43</c:v>
                </c:pt>
                <c:pt idx="9">
                  <c:v>Av Price/Unit 19.44</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B$2:$B$13</c:f>
              <c:numCache>
                <c:formatCode>General</c:formatCode>
                <c:ptCount val="12"/>
                <c:pt idx="0">
                  <c:v>6.8390522795495094</c:v>
                </c:pt>
                <c:pt idx="1">
                  <c:v>3.233715215106926</c:v>
                </c:pt>
                <c:pt idx="2">
                  <c:v>5.054232970869206</c:v>
                </c:pt>
                <c:pt idx="3">
                  <c:v>14.19104302177007</c:v>
                </c:pt>
                <c:pt idx="4">
                  <c:v>2.541888380255395</c:v>
                </c:pt>
                <c:pt idx="5">
                  <c:v>3.212480951011117</c:v>
                </c:pt>
                <c:pt idx="6">
                  <c:v>5.025910217783153</c:v>
                </c:pt>
                <c:pt idx="7">
                  <c:v>1.7043</c:v>
                </c:pt>
                <c:pt idx="8">
                  <c:v>2.2291999999999996</c:v>
                </c:pt>
                <c:pt idx="9">
                  <c:v>4.7177</c:v>
                </c:pt>
                <c:pt idx="10">
                  <c:v>2.6841999999999997</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C$2:$C$13</c:f>
              <c:numCache>
                <c:formatCode>General</c:formatCode>
                <c:ptCount val="12"/>
                <c:pt idx="0">
                  <c:v>3.067757635848979</c:v>
                </c:pt>
                <c:pt idx="1">
                  <c:v>0.9783543391804891</c:v>
                </c:pt>
                <c:pt idx="2">
                  <c:v>2.7044101916499583</c:v>
                </c:pt>
                <c:pt idx="3">
                  <c:v>6.233489702076728</c:v>
                </c:pt>
                <c:pt idx="4">
                  <c:v>1.5464522231349414</c:v>
                </c:pt>
                <c:pt idx="5">
                  <c:v>2.8435095244944413</c:v>
                </c:pt>
                <c:pt idx="6">
                  <c:v>4.5703</c:v>
                </c:pt>
                <c:pt idx="7">
                  <c:v>4.9948</c:v>
                </c:pt>
                <c:pt idx="8">
                  <c:v>4.3998</c:v>
                </c:pt>
                <c:pt idx="9">
                  <c:v>2.7761</c:v>
                </c:pt>
                <c:pt idx="10">
                  <c:v>1.5421999999999998</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D$2:$D$13</c:f>
              <c:numCache>
                <c:formatCode>General</c:formatCode>
                <c:ptCount val="12"/>
                <c:pt idx="0">
                  <c:v>4.684638127418941</c:v>
                </c:pt>
                <c:pt idx="1">
                  <c:v>2.2777927239644518</c:v>
                </c:pt>
                <c:pt idx="2">
                  <c:v>3.2382940865668104</c:v>
                </c:pt>
                <c:pt idx="3">
                  <c:v>5.777374179174487</c:v>
                </c:pt>
                <c:pt idx="4">
                  <c:v>2.398801040997685</c:v>
                </c:pt>
                <c:pt idx="5">
                  <c:v>3.9013673510708635</c:v>
                </c:pt>
                <c:pt idx="6">
                  <c:v>5.409317070708223</c:v>
                </c:pt>
                <c:pt idx="7">
                  <c:v>1.9202117629885382</c:v>
                </c:pt>
                <c:pt idx="8">
                  <c:v>2.334137826183455</c:v>
                </c:pt>
                <c:pt idx="9">
                  <c:v>3.502975628196574</c:v>
                </c:pt>
                <c:pt idx="10">
                  <c:v>2.2649567847350456</c:v>
                </c:pt>
                <c:pt idx="11">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49</c:v>
                </c:pt>
                <c:pt idx="2">
                  <c:v>Av Price/Unit 11.00</c:v>
                </c:pt>
                <c:pt idx="3">
                  <c:v>Av Price/Unit 26.20</c:v>
                </c:pt>
                <c:pt idx="4">
                  <c:v>Av Price/Unit 6.49</c:v>
                </c:pt>
                <c:pt idx="5">
                  <c:v>Av Price/Unit 9.96</c:v>
                </c:pt>
                <c:pt idx="6">
                  <c:v>Av Price/Unit 15.01</c:v>
                </c:pt>
                <c:pt idx="7">
                  <c:v>Av Price/Unit 8.62</c:v>
                </c:pt>
                <c:pt idx="8">
                  <c:v>Av Price/Unit 8.96</c:v>
                </c:pt>
                <c:pt idx="9">
                  <c:v>Av Price/Unit 11.00</c:v>
                </c:pt>
                <c:pt idx="10">
                  <c:v>Av Price/Unit 6.49</c:v>
                </c:pt>
                <c:pt idx="11">
                  <c:v>Av Price/Unit 15.01</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B$2:$B$3</c:f>
              <c:numCache>
                <c:formatCode>General</c:formatCode>
                <c:ptCount val="2"/>
                <c:pt idx="0">
                  <c:v>3.5132081313391774</c:v>
                </c:pt>
                <c:pt idx="1">
                  <c:v>6.3425399870382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C$2:$C$3</c:f>
              <c:numCache>
                <c:formatCode>General</c:formatCode>
                <c:ptCount val="2"/>
                <c:pt idx="0">
                  <c:v>5.942967801272133</c:v>
                </c:pt>
                <c:pt idx="1">
                  <c:v>2.5379539209332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D$2:$D$3</c:f>
              <c:numCache>
                <c:formatCode>General</c:formatCode>
                <c:ptCount val="2"/>
                <c:pt idx="0">
                  <c:v>5.474272769468797</c:v>
                </c:pt>
                <c:pt idx="1">
                  <c:v>4.7074104990278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B$2:$B$11</c:f>
              <c:numCache>
                <c:formatCode>General</c:formatCode>
                <c:ptCount val="10"/>
                <c:pt idx="0">
                  <c:v>1.3913535853264212</c:v>
                </c:pt>
                <c:pt idx="1">
                  <c:v>3.731685929427754</c:v>
                </c:pt>
                <c:pt idx="2">
                  <c:v>-0.0034127103466726418</c:v>
                </c:pt>
                <c:pt idx="3">
                  <c:v>1.7058220196056355</c:v>
                </c:pt>
                <c:pt idx="4">
                  <c:v>1.132846593286125</c:v>
                </c:pt>
                <c:pt idx="5">
                  <c:v>0.862530590935272</c:v>
                </c:pt>
                <c:pt idx="6">
                  <c:v>6.477164216836477</c:v>
                </c:pt>
                <c:pt idx="7">
                  <c:v>1.8129998778625953</c:v>
                </c:pt>
                <c:pt idx="8">
                  <c:v>0.0072931375268884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C$2:$C$11</c:f>
              <c:numCache>
                <c:formatCode>General</c:formatCode>
                <c:ptCount val="10"/>
                <c:pt idx="0">
                  <c:v>1.441946414673579</c:v>
                </c:pt>
                <c:pt idx="1">
                  <c:v>1.3682140705722463</c:v>
                </c:pt>
                <c:pt idx="2">
                  <c:v>1.3028651803297155</c:v>
                </c:pt>
                <c:pt idx="3">
                  <c:v>1.5964314680564011</c:v>
                </c:pt>
                <c:pt idx="4">
                  <c:v>1.1631534067138753</c:v>
                </c:pt>
                <c:pt idx="5">
                  <c:v>0.9351266017294732</c:v>
                </c:pt>
                <c:pt idx="6">
                  <c:v>2.6577357831635235</c:v>
                </c:pt>
                <c:pt idx="7">
                  <c:v>2.5053001221374043</c:v>
                </c:pt>
                <c:pt idx="8">
                  <c:v>0.6961518919650252</c:v>
                </c:pt>
                <c:pt idx="9">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D$2:$D$11</c:f>
              <c:numCache>
                <c:formatCode>General</c:formatCode>
                <c:ptCount val="10"/>
                <c:pt idx="0">
                  <c:v>2.649763853189348</c:v>
                </c:pt>
                <c:pt idx="1">
                  <c:v>3.848679181367342</c:v>
                </c:pt>
                <c:pt idx="2">
                  <c:v>0.877855437315233</c:v>
                </c:pt>
                <c:pt idx="3">
                  <c:v>2.6775867628565373</c:v>
                </c:pt>
                <c:pt idx="4">
                  <c:v>1.8539354866522482</c:v>
                </c:pt>
                <c:pt idx="5">
                  <c:v>2.171707915321968</c:v>
                </c:pt>
                <c:pt idx="6">
                  <c:v>6.255594305470023</c:v>
                </c:pt>
                <c:pt idx="7">
                  <c:v>4.1230529572931705</c:v>
                </c:pt>
                <c:pt idx="8">
                  <c:v>0.29817435980134643</c:v>
                </c:pt>
                <c:pt idx="9">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8</c:v>
                </c:pt>
                <c:pt idx="1">
                  <c:v>Av Price/Unit 8.95</c:v>
                </c:pt>
                <c:pt idx="2">
                  <c:v>Av Price/Unit 2.18</c:v>
                </c:pt>
                <c:pt idx="3">
                  <c:v>Av Price/Unit 5.98</c:v>
                </c:pt>
                <c:pt idx="4">
                  <c:v>Av Price/Unit 4.15</c:v>
                </c:pt>
                <c:pt idx="5">
                  <c:v>Av Price/Unit 3.97</c:v>
                </c:pt>
                <c:pt idx="6">
                  <c:v>Av Price/Unit 15.39</c:v>
                </c:pt>
                <c:pt idx="7">
                  <c:v>Av Price/Unit 8.44</c:v>
                </c:pt>
                <c:pt idx="8">
                  <c:v>Av Price/Unit 1.00</c:v>
                </c:pt>
                <c:pt idx="9">
                  <c:v>Av Price/Unit 19.48</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B$2:$B$13</c:f>
              <c:numCache>
                <c:formatCode>General</c:formatCode>
                <c:ptCount val="12"/>
                <c:pt idx="0">
                  <c:v>6.839531646239956</c:v>
                </c:pt>
                <c:pt idx="1">
                  <c:v>3.233711386309951</c:v>
                </c:pt>
                <c:pt idx="2">
                  <c:v>5.054899165457547</c:v>
                </c:pt>
                <c:pt idx="3">
                  <c:v>14.192114738292009</c:v>
                </c:pt>
                <c:pt idx="4">
                  <c:v>2.542119626734359</c:v>
                </c:pt>
                <c:pt idx="5">
                  <c:v>3.2126581464138413</c:v>
                </c:pt>
                <c:pt idx="6">
                  <c:v>5.02659039075498</c:v>
                </c:pt>
                <c:pt idx="7">
                  <c:v>1.7043</c:v>
                </c:pt>
                <c:pt idx="8">
                  <c:v>2.2291999999999996</c:v>
                </c:pt>
                <c:pt idx="9">
                  <c:v>4.7177</c:v>
                </c:pt>
                <c:pt idx="10">
                  <c:v>2.6842</c:v>
                </c:pt>
                <c:pt idx="11">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C$2:$C$13</c:f>
              <c:numCache>
                <c:formatCode>General</c:formatCode>
                <c:ptCount val="12"/>
                <c:pt idx="0">
                  <c:v>3.067845066222738</c:v>
                </c:pt>
                <c:pt idx="1">
                  <c:v>0.9783532936787319</c:v>
                </c:pt>
                <c:pt idx="2">
                  <c:v>2.704414323310152</c:v>
                </c:pt>
                <c:pt idx="3">
                  <c:v>6.233713223140496</c:v>
                </c:pt>
                <c:pt idx="4">
                  <c:v>1.5464536791312902</c:v>
                </c:pt>
                <c:pt idx="5">
                  <c:v>2.8434209267930792</c:v>
                </c:pt>
                <c:pt idx="6">
                  <c:v>4.5703</c:v>
                </c:pt>
                <c:pt idx="7">
                  <c:v>4.9948</c:v>
                </c:pt>
                <c:pt idx="8">
                  <c:v>4.399799999999999</c:v>
                </c:pt>
                <c:pt idx="9">
                  <c:v>2.7761000000000005</c:v>
                </c:pt>
                <c:pt idx="10">
                  <c:v>1.5422000000000002</c:v>
                </c:pt>
                <c:pt idx="11">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D$2:$D$13</c:f>
              <c:numCache>
                <c:formatCode>General</c:formatCode>
                <c:ptCount val="12"/>
                <c:pt idx="0">
                  <c:v>4.683508421164115</c:v>
                </c:pt>
                <c:pt idx="1">
                  <c:v>2.285114535560834</c:v>
                </c:pt>
                <c:pt idx="2">
                  <c:v>3.247973158553058</c:v>
                </c:pt>
                <c:pt idx="3">
                  <c:v>5.771711167797839</c:v>
                </c:pt>
                <c:pt idx="4">
                  <c:v>2.403455607478132</c:v>
                </c:pt>
                <c:pt idx="5">
                  <c:v>3.9015932615950515</c:v>
                </c:pt>
                <c:pt idx="6">
                  <c:v>5.42089618038381</c:v>
                </c:pt>
                <c:pt idx="7">
                  <c:v>1.9227027413210482</c:v>
                </c:pt>
                <c:pt idx="8">
                  <c:v>2.335967770032089</c:v>
                </c:pt>
                <c:pt idx="9">
                  <c:v>3.516074412807976</c:v>
                </c:pt>
                <c:pt idx="10">
                  <c:v>2.2714615812527894</c:v>
                </c:pt>
                <c:pt idx="11">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4.59</c:v>
                </c:pt>
                <c:pt idx="1">
                  <c:v>Av Price/Unit 6.50</c:v>
                </c:pt>
                <c:pt idx="2">
                  <c:v>Av Price/Unit 11.01</c:v>
                </c:pt>
                <c:pt idx="3">
                  <c:v>Av Price/Unit 26.20</c:v>
                </c:pt>
                <c:pt idx="4">
                  <c:v>Av Price/Unit 6.49</c:v>
                </c:pt>
                <c:pt idx="5">
                  <c:v>Av Price/Unit 9.96</c:v>
                </c:pt>
                <c:pt idx="6">
                  <c:v>Av Price/Unit 15.02</c:v>
                </c:pt>
                <c:pt idx="7">
                  <c:v>Av Price/Unit 8.62</c:v>
                </c:pt>
                <c:pt idx="8">
                  <c:v>Av Price/Unit 8.96</c:v>
                </c:pt>
                <c:pt idx="9">
                  <c:v>Av Price/Unit 11.01</c:v>
                </c:pt>
                <c:pt idx="10">
                  <c:v>Av Price/Unit 6.50</c:v>
                </c:pt>
                <c:pt idx="11">
                  <c:v>Av Price/Unit 15.03</c:v>
                </c:pt>
              </c:strCache>
            </c:strRef>
          </c:cat>
          <c:val>
            <c:numRef>
              <c:f>Sheet1!$E$2:$E$13</c:f>
              <c:numCache>
                <c:formatCode>General</c:formatCode>
                <c:ptCount val="12"/>
                <c:pt idx="0">
                  <c:v>0.0</c:v>
                </c:pt>
                <c:pt idx="1">
                  <c:v>0.0</c:v>
                </c:pt>
                <c:pt idx="2">
                  <c:v>0.0</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B$2:$B$3</c:f>
              <c:numCache>
                <c:formatCode>General</c:formatCode>
                <c:ptCount val="2"/>
                <c:pt idx="0">
                  <c:v>3.513407984599932</c:v>
                </c:pt>
                <c:pt idx="1">
                  <c:v>6.320834774436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C$2:$C$3</c:f>
              <c:numCache>
                <c:formatCode>General</c:formatCode>
                <c:ptCount val="2"/>
                <c:pt idx="0">
                  <c:v>5.943010227653164</c:v>
                </c:pt>
                <c:pt idx="1">
                  <c:v>2.5365119047619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D$2:$D$3</c:f>
              <c:numCache>
                <c:formatCode>General</c:formatCode>
                <c:ptCount val="2"/>
                <c:pt idx="0">
                  <c:v>5.477194877803816</c:v>
                </c:pt>
                <c:pt idx="1">
                  <c:v>4.677202474937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D65F9D0-8E34-448C-ABDD-5CC070E28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7AB66D2-4568-4DC3-B258-4606AC5FE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5C90BC6-DE1F-436B-BF55-06E465307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C8AB1F-F74F-4435-A3C0-6DC5E63F9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8A51D7A-FA44-4571-83D0-0D4213CBA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171E915-365C-40A7-8CD7-D8187AEFA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B89E29D-E973-439E-A89B-9696F746A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3411603-2308-46D4-8B79-A0670390E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238</c:v>
                </c:pt>
                <c:pt idx="1">
                  <c:v>0.8339</c:v>
                </c:pt>
                <c:pt idx="2">
                  <c:v>0.8411</c:v>
                </c:pt>
              </c:numCache>
            </c:numRef>
          </c:xVal>
          <c:yVal>
            <c:numRef>
              <c:f>Sheet1!$B$2:$B$4</c:f>
              <c:numCache>
                <c:formatCode>General</c:formatCode>
                <c:ptCount val="3"/>
                <c:pt idx="0">
                  <c:v>0.6143</c:v>
                </c:pt>
                <c:pt idx="1">
                  <c:v>0.6473</c:v>
                </c:pt>
                <c:pt idx="2">
                  <c:v>0.6476</c:v>
                </c:pt>
              </c:numCache>
            </c:numRef>
          </c:yVal>
          <c:bubbleSize>
            <c:numRef>
              <c:f>Sheet1!$C$2:$C$4</c:f>
              <c:numCache>
                <c:formatCode>General</c:formatCode>
                <c:ptCount val="3"/>
                <c:pt idx="0">
                  <c:v>20094865.639200006</c:v>
                </c:pt>
                <c:pt idx="1">
                  <c:v>1465830.9724999995</c:v>
                </c:pt>
                <c:pt idx="2">
                  <c:v>1242905.1412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0856"/>
          <c:min val="0.6671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362713079296"/>
        <c:crossBetween val="midCat"/>
      </c:valAx>
      <c:valAx>
        <c:axId val="1011451359"/>
        <c:scaling>
          <c:orientation val="minMax"/>
          <c:max val="1.13712"/>
          <c:min val="0.2514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13513622341154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B$2:$B$12</c:f>
              <c:numCache>
                <c:formatCode>General</c:formatCode>
                <c:ptCount val="11"/>
                <c:pt idx="0">
                  <c:v>1.391337819208969</c:v>
                </c:pt>
                <c:pt idx="1">
                  <c:v>3.731684971057627</c:v>
                </c:pt>
                <c:pt idx="2">
                  <c:v>-0.003430243957590782</c:v>
                </c:pt>
                <c:pt idx="3">
                  <c:v>1.7056911935876407</c:v>
                </c:pt>
                <c:pt idx="4">
                  <c:v>1.1328696165771632</c:v>
                </c:pt>
                <c:pt idx="5">
                  <c:v>0.8624432843284106</c:v>
                </c:pt>
                <c:pt idx="6">
                  <c:v>6.477163538161375</c:v>
                </c:pt>
                <c:pt idx="7">
                  <c:v>0.0073972645224219475</c:v>
                </c:pt>
                <c:pt idx="8">
                  <c:v>1.8129275374529839</c:v>
                </c:pt>
                <c:pt idx="9">
                  <c:v>8.009000000000002</c:v>
                </c:pt>
                <c:pt idx="10">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C$2:$C$12</c:f>
              <c:numCache>
                <c:formatCode>General</c:formatCode>
                <c:ptCount val="11"/>
                <c:pt idx="0">
                  <c:v>1.4419621807910314</c:v>
                </c:pt>
                <c:pt idx="1">
                  <c:v>1.368215028942373</c:v>
                </c:pt>
                <c:pt idx="2">
                  <c:v>1.3028827290688574</c:v>
                </c:pt>
                <c:pt idx="3">
                  <c:v>1.5965622189302155</c:v>
                </c:pt>
                <c:pt idx="4">
                  <c:v>1.1631303834228373</c:v>
                </c:pt>
                <c:pt idx="5">
                  <c:v>0.9352138114366597</c:v>
                </c:pt>
                <c:pt idx="6">
                  <c:v>2.6577364618386254</c:v>
                </c:pt>
                <c:pt idx="7">
                  <c:v>0.6960479342816795</c:v>
                </c:pt>
                <c:pt idx="8">
                  <c:v>2.5053724625470166</c:v>
                </c:pt>
                <c:pt idx="9">
                  <c:v>3.7053000000000003</c:v>
                </c:pt>
                <c:pt idx="10">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D$2:$D$12</c:f>
              <c:numCache>
                <c:formatCode>General</c:formatCode>
                <c:ptCount val="11"/>
                <c:pt idx="0">
                  <c:v>2.6544815258828254</c:v>
                </c:pt>
                <c:pt idx="1">
                  <c:v>3.8479765070735015</c:v>
                </c:pt>
                <c:pt idx="2">
                  <c:v>0.8778978962155624</c:v>
                </c:pt>
                <c:pt idx="3">
                  <c:v>2.67736377440347</c:v>
                </c:pt>
                <c:pt idx="4">
                  <c:v>1.8581278447161123</c:v>
                </c:pt>
                <c:pt idx="5">
                  <c:v>2.174250147950246</c:v>
                </c:pt>
                <c:pt idx="6">
                  <c:v>6.164408628882589</c:v>
                </c:pt>
                <c:pt idx="7">
                  <c:v>0.3000036054405024</c:v>
                </c:pt>
                <c:pt idx="8">
                  <c:v>4.1225074155841375</c:v>
                </c:pt>
                <c:pt idx="9">
                  <c:v>7.765849191877331</c:v>
                </c:pt>
                <c:pt idx="10">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5.49</c:v>
                </c:pt>
                <c:pt idx="1">
                  <c:v>Av Price/Unit 8.95</c:v>
                </c:pt>
                <c:pt idx="2">
                  <c:v>Av Price/Unit 2.18</c:v>
                </c:pt>
                <c:pt idx="3">
                  <c:v>Av Price/Unit 5.98</c:v>
                </c:pt>
                <c:pt idx="4">
                  <c:v>Av Price/Unit 4.15</c:v>
                </c:pt>
                <c:pt idx="5">
                  <c:v>Av Price/Unit 3.97</c:v>
                </c:pt>
                <c:pt idx="6">
                  <c:v>Av Price/Unit 15.30</c:v>
                </c:pt>
                <c:pt idx="7">
                  <c:v>Av Price/Unit 1.00</c:v>
                </c:pt>
                <c:pt idx="8">
                  <c:v>Av Price/Unit 8.44</c:v>
                </c:pt>
                <c:pt idx="9">
                  <c:v>Av Price/Unit 19.48</c:v>
                </c:pt>
                <c:pt idx="10">
                  <c:v>Av Price/Unit 2.68</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B$2:$B$12</c:f>
              <c:numCache>
                <c:formatCode>General</c:formatCode>
                <c:ptCount val="11"/>
                <c:pt idx="0">
                  <c:v>6.834024652851955</c:v>
                </c:pt>
                <c:pt idx="1">
                  <c:v>5.061522740760723</c:v>
                </c:pt>
                <c:pt idx="2">
                  <c:v>3.2334426633358953</c:v>
                </c:pt>
                <c:pt idx="3">
                  <c:v>2.5448640435753433</c:v>
                </c:pt>
                <c:pt idx="4">
                  <c:v>3.214683695951529</c:v>
                </c:pt>
                <c:pt idx="5">
                  <c:v>5.040524876695438</c:v>
                </c:pt>
                <c:pt idx="6">
                  <c:v>4.7177</c:v>
                </c:pt>
                <c:pt idx="7">
                  <c:v>2.6842</c:v>
                </c:pt>
                <c:pt idx="8">
                  <c:v>4.8102</c:v>
                </c:pt>
                <c:pt idx="9">
                  <c:v>8.1992</c:v>
                </c:pt>
                <c:pt idx="10">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C$2:$C$12</c:f>
              <c:numCache>
                <c:formatCode>General</c:formatCode>
                <c:ptCount val="11"/>
                <c:pt idx="0">
                  <c:v>3.066840660827458</c:v>
                </c:pt>
                <c:pt idx="1">
                  <c:v>2.7044554019422713</c:v>
                </c:pt>
                <c:pt idx="2">
                  <c:v>0.978279915449654</c:v>
                </c:pt>
                <c:pt idx="3">
                  <c:v>1.546470958792882</c:v>
                </c:pt>
                <c:pt idx="4">
                  <c:v>2.8424081520242357</c:v>
                </c:pt>
                <c:pt idx="5">
                  <c:v>4.5703</c:v>
                </c:pt>
                <c:pt idx="6">
                  <c:v>2.7761</c:v>
                </c:pt>
                <c:pt idx="7">
                  <c:v>1.5422</c:v>
                </c:pt>
                <c:pt idx="8">
                  <c:v>5.0165</c:v>
                </c:pt>
                <c:pt idx="9">
                  <c:v>2.1174999999999997</c:v>
                </c:pt>
                <c:pt idx="10">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D$2:$D$12</c:f>
              <c:numCache>
                <c:formatCode>General</c:formatCode>
                <c:ptCount val="11"/>
                <c:pt idx="0">
                  <c:v>4.6694399772128445</c:v>
                </c:pt>
                <c:pt idx="1">
                  <c:v>3.261581818181818</c:v>
                </c:pt>
                <c:pt idx="2">
                  <c:v>2.299730149884703</c:v>
                </c:pt>
                <c:pt idx="3">
                  <c:v>2.408151879919706</c:v>
                </c:pt>
                <c:pt idx="4">
                  <c:v>3.9038224834756257</c:v>
                </c:pt>
                <c:pt idx="5">
                  <c:v>5.370473931360461</c:v>
                </c:pt>
                <c:pt idx="6">
                  <c:v>3.5501560439560427</c:v>
                </c:pt>
                <c:pt idx="7">
                  <c:v>2.282073205741627</c:v>
                </c:pt>
                <c:pt idx="8">
                  <c:v>5.1944437710437725</c:v>
                </c:pt>
                <c:pt idx="9">
                  <c:v>-4.9168</c:v>
                </c:pt>
                <c:pt idx="10">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14.57</c:v>
                </c:pt>
                <c:pt idx="1">
                  <c:v>Av Price/Unit 11.03</c:v>
                </c:pt>
                <c:pt idx="2">
                  <c:v>Av Price/Unit 6.51</c:v>
                </c:pt>
                <c:pt idx="3">
                  <c:v>Av Price/Unit 6.50</c:v>
                </c:pt>
                <c:pt idx="4">
                  <c:v>Av Price/Unit 9.96</c:v>
                </c:pt>
                <c:pt idx="5">
                  <c:v>Av Price/Unit 14.98</c:v>
                </c:pt>
                <c:pt idx="6">
                  <c:v>Av Price/Unit 11.04</c:v>
                </c:pt>
                <c:pt idx="7">
                  <c:v>Av Price/Unit 6.51</c:v>
                </c:pt>
                <c:pt idx="8">
                  <c:v>Av Price/Unit 15.02</c:v>
                </c:pt>
                <c:pt idx="9">
                  <c:v>Av Price/Unit 5.02</c:v>
                </c:pt>
                <c:pt idx="10">
                  <c:v>Av Price/Unit 16.62</c:v>
                </c:pt>
              </c:strCache>
            </c:strRef>
          </c:cat>
          <c:val>
            <c:numRef>
              <c:f>Sheet1!$E$2:$E$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B$2:$B$11</c:f>
              <c:numCache>
                <c:formatCode>General</c:formatCode>
                <c:ptCount val="10"/>
                <c:pt idx="0">
                  <c:v>1.3910074025933514</c:v>
                </c:pt>
                <c:pt idx="1">
                  <c:v>3.7319013056942776</c:v>
                </c:pt>
                <c:pt idx="2">
                  <c:v>-0.0028238252861935344</c:v>
                </c:pt>
                <c:pt idx="3">
                  <c:v>1.7034869891422082</c:v>
                </c:pt>
                <c:pt idx="4">
                  <c:v>1.1333460349501125</c:v>
                </c:pt>
                <c:pt idx="5">
                  <c:v>0.008419116543434663</c:v>
                </c:pt>
                <c:pt idx="6">
                  <c:v>0.8609268492640209</c:v>
                </c:pt>
                <c:pt idx="7">
                  <c:v>1.8133430825652657</c:v>
                </c:pt>
                <c:pt idx="8">
                  <c:v>6.477154811051128</c:v>
                </c:pt>
                <c:pt idx="9">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C$2:$C$11</c:f>
              <c:numCache>
                <c:formatCode>General</c:formatCode>
                <c:ptCount val="10"/>
                <c:pt idx="0">
                  <c:v>1.4422925974066485</c:v>
                </c:pt>
                <c:pt idx="1">
                  <c:v>1.3679986943057223</c:v>
                </c:pt>
                <c:pt idx="2">
                  <c:v>1.3022757871716868</c:v>
                </c:pt>
                <c:pt idx="3">
                  <c:v>1.5987651573191026</c:v>
                </c:pt>
                <c:pt idx="4">
                  <c:v>1.1626539650498875</c:v>
                </c:pt>
                <c:pt idx="5">
                  <c:v>0.6950277438086686</c:v>
                </c:pt>
                <c:pt idx="6">
                  <c:v>0.9367285634432643</c:v>
                </c:pt>
                <c:pt idx="7">
                  <c:v>2.5049569174347344</c:v>
                </c:pt>
                <c:pt idx="8">
                  <c:v>2.6577451889488724</c:v>
                </c:pt>
                <c:pt idx="9">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D$2:$D$11</c:f>
              <c:numCache>
                <c:formatCode>General</c:formatCode>
                <c:ptCount val="10"/>
                <c:pt idx="0">
                  <c:v>2.66158920546122</c:v>
                </c:pt>
                <c:pt idx="1">
                  <c:v>3.8513384342828445</c:v>
                </c:pt>
                <c:pt idx="2">
                  <c:v>0.8780065175509717</c:v>
                </c:pt>
                <c:pt idx="3">
                  <c:v>2.6723387340501414</c:v>
                </c:pt>
                <c:pt idx="4">
                  <c:v>1.8636544225926142</c:v>
                </c:pt>
                <c:pt idx="5">
                  <c:v>0.30592544320460635</c:v>
                </c:pt>
                <c:pt idx="6">
                  <c:v>2.1783827955350037</c:v>
                </c:pt>
                <c:pt idx="7">
                  <c:v>4.128448081841433</c:v>
                </c:pt>
                <c:pt idx="8">
                  <c:v>5.099460114322007</c:v>
                </c:pt>
                <c:pt idx="9">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5.49</c:v>
                </c:pt>
                <c:pt idx="1">
                  <c:v>Av Price/Unit 8.95</c:v>
                </c:pt>
                <c:pt idx="2">
                  <c:v>Av Price/Unit 2.18</c:v>
                </c:pt>
                <c:pt idx="3">
                  <c:v>Av Price/Unit 5.97</c:v>
                </c:pt>
                <c:pt idx="4">
                  <c:v>Av Price/Unit 4.16</c:v>
                </c:pt>
                <c:pt idx="5">
                  <c:v>Av Price/Unit 1.01</c:v>
                </c:pt>
                <c:pt idx="6">
                  <c:v>Av Price/Unit 3.98</c:v>
                </c:pt>
                <c:pt idx="7">
                  <c:v>Av Price/Unit 8.45</c:v>
                </c:pt>
                <c:pt idx="8">
                  <c:v>Av Price/Unit 14.23</c:v>
                </c:pt>
                <c:pt idx="9">
                  <c:v>Av Price/Unit 19.49</c:v>
                </c:pt>
              </c:strCache>
            </c:strRef>
          </c:cat>
          <c:val>
            <c:numRef>
              <c:f>Sheet1!$E$2:$E$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B$2:$B$10</c:f>
              <c:numCache>
                <c:formatCode>General</c:formatCode>
                <c:ptCount val="9"/>
                <c:pt idx="0">
                  <c:v>6.8390522795495094</c:v>
                </c:pt>
                <c:pt idx="1">
                  <c:v>14.19104302177007</c:v>
                </c:pt>
                <c:pt idx="2">
                  <c:v>3.212480951011117</c:v>
                </c:pt>
                <c:pt idx="3">
                  <c:v>1.7043</c:v>
                </c:pt>
                <c:pt idx="4">
                  <c:v>3.6424507269253144</c:v>
                </c:pt>
                <c:pt idx="5">
                  <c:v>4.3638916493596405</c:v>
                </c:pt>
                <c:pt idx="6">
                  <c:v>8.1992</c:v>
                </c:pt>
                <c:pt idx="7">
                  <c:v>3.6566</c:v>
                </c:pt>
                <c:pt idx="8">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C$2:$C$10</c:f>
              <c:numCache>
                <c:formatCode>General</c:formatCode>
                <c:ptCount val="9"/>
                <c:pt idx="0">
                  <c:v>3.067757635848979</c:v>
                </c:pt>
                <c:pt idx="1">
                  <c:v>6.233489702076728</c:v>
                </c:pt>
                <c:pt idx="2">
                  <c:v>2.8435095244944413</c:v>
                </c:pt>
                <c:pt idx="3">
                  <c:v>4.9948</c:v>
                </c:pt>
                <c:pt idx="4">
                  <c:v>2.390709329567168</c:v>
                </c:pt>
                <c:pt idx="5">
                  <c:v>1.6381610938040845</c:v>
                </c:pt>
                <c:pt idx="6">
                  <c:v>2.1174999999999997</c:v>
                </c:pt>
                <c:pt idx="7">
                  <c:v>2.3597000000000006</c:v>
                </c:pt>
                <c:pt idx="8">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D$2:$D$10</c:f>
              <c:numCache>
                <c:formatCode>General</c:formatCode>
                <c:ptCount val="9"/>
                <c:pt idx="0">
                  <c:v>4.684638127418941</c:v>
                </c:pt>
                <c:pt idx="1">
                  <c:v>5.777374179174487</c:v>
                </c:pt>
                <c:pt idx="2">
                  <c:v>3.9013673510708635</c:v>
                </c:pt>
                <c:pt idx="3">
                  <c:v>1.9202117629885382</c:v>
                </c:pt>
                <c:pt idx="4">
                  <c:v>3.5119923901304313</c:v>
                </c:pt>
                <c:pt idx="5">
                  <c:v>2.383673624091382</c:v>
                </c:pt>
                <c:pt idx="6">
                  <c:v>-4.032519063545149</c:v>
                </c:pt>
                <c:pt idx="7">
                  <c:v>-2.3883930232558144</c:v>
                </c:pt>
                <c:pt idx="8">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5</c:v>
                </c:pt>
                <c:pt idx="5">
                  <c:v>Av Price/Unit 8.39</c:v>
                </c:pt>
                <c:pt idx="6">
                  <c:v>Av Price/Unit 6.22</c:v>
                </c:pt>
                <c:pt idx="7">
                  <c:v>Av Price/Unit 3.58</c:v>
                </c:pt>
                <c:pt idx="8">
                  <c:v>Av Price/Unit 3.70</c:v>
                </c:pt>
              </c:strCache>
            </c:strRef>
          </c:cat>
          <c:val>
            <c:numRef>
              <c:f>Sheet1!$E$2:$E$10</c:f>
              <c:numCache>
                <c:formatCode>General</c:formatCode>
                <c:ptCount val="9"/>
                <c:pt idx="0">
                  <c:v>0.0</c:v>
                </c:pt>
                <c:pt idx="1">
                  <c:v>0.0</c:v>
                </c:pt>
                <c:pt idx="2">
                  <c:v>0.0</c:v>
                </c:pt>
                <c:pt idx="3">
                  <c:v>0.0</c:v>
                </c:pt>
                <c:pt idx="4">
                  <c:v>0.0</c:v>
                </c:pt>
                <c:pt idx="5">
                  <c:v>0.0</c:v>
                </c:pt>
                <c:pt idx="6">
                  <c:v>0.0</c:v>
                </c:pt>
                <c:pt idx="7">
                  <c:v>0.0</c:v>
                </c:pt>
                <c:pt idx="8">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B$2:$B$3</c:f>
              <c:numCache>
                <c:formatCode>General</c:formatCode>
                <c:ptCount val="2"/>
                <c:pt idx="0">
                  <c:v>3.5132081313391774</c:v>
                </c:pt>
                <c:pt idx="1">
                  <c:v>6.3425399870382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C$2:$C$3</c:f>
              <c:numCache>
                <c:formatCode>General</c:formatCode>
                <c:ptCount val="2"/>
                <c:pt idx="0">
                  <c:v>5.942967801272133</c:v>
                </c:pt>
                <c:pt idx="1">
                  <c:v>2.5379539209332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D$2:$D$3</c:f>
              <c:numCache>
                <c:formatCode>General</c:formatCode>
                <c:ptCount val="2"/>
                <c:pt idx="0">
                  <c:v>5.474272769468797</c:v>
                </c:pt>
                <c:pt idx="1">
                  <c:v>4.7074104990278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9</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B$2:$B$5</c:f>
              <c:numCache>
                <c:formatCode>General</c:formatCode>
                <c:ptCount val="4"/>
                <c:pt idx="0">
                  <c:v>3.731685929427754</c:v>
                </c:pt>
                <c:pt idx="1">
                  <c:v>6.477164216836477</c:v>
                </c:pt>
                <c:pt idx="2">
                  <c:v>1.8129998778625953</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C$2:$C$5</c:f>
              <c:numCache>
                <c:formatCode>General</c:formatCode>
                <c:ptCount val="4"/>
                <c:pt idx="0">
                  <c:v>1.3682140705722463</c:v>
                </c:pt>
                <c:pt idx="1">
                  <c:v>2.6577357831635235</c:v>
                </c:pt>
                <c:pt idx="2">
                  <c:v>2.5053001221374043</c:v>
                </c:pt>
                <c:pt idx="3">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D$2:$D$5</c:f>
              <c:numCache>
                <c:formatCode>General</c:formatCode>
                <c:ptCount val="4"/>
                <c:pt idx="0">
                  <c:v>3.848679181367342</c:v>
                </c:pt>
                <c:pt idx="1">
                  <c:v>6.255594305470023</c:v>
                </c:pt>
                <c:pt idx="2">
                  <c:v>4.1230529572931705</c:v>
                </c:pt>
                <c:pt idx="3">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9</c:v>
                </c:pt>
                <c:pt idx="2">
                  <c:v>Av Price/Unit 8.44</c:v>
                </c:pt>
                <c:pt idx="3">
                  <c:v>Av Price/Unit 19.4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B$2:$B$5</c:f>
              <c:numCache>
                <c:formatCode>General</c:formatCode>
                <c:ptCount val="4"/>
                <c:pt idx="0">
                  <c:v>6.834024652851955</c:v>
                </c:pt>
                <c:pt idx="1">
                  <c:v>3.214683695951529</c:v>
                </c:pt>
                <c:pt idx="2">
                  <c:v>8.1992</c:v>
                </c:pt>
                <c:pt idx="3">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C$2:$C$5</c:f>
              <c:numCache>
                <c:formatCode>General</c:formatCode>
                <c:ptCount val="4"/>
                <c:pt idx="0">
                  <c:v>3.066840660827458</c:v>
                </c:pt>
                <c:pt idx="1">
                  <c:v>2.8424081520242357</c:v>
                </c:pt>
                <c:pt idx="2">
                  <c:v>2.1174999999999997</c:v>
                </c:pt>
                <c:pt idx="3">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D$2:$D$5</c:f>
              <c:numCache>
                <c:formatCode>General</c:formatCode>
                <c:ptCount val="4"/>
                <c:pt idx="0">
                  <c:v>4.6694399772128445</c:v>
                </c:pt>
                <c:pt idx="1">
                  <c:v>3.9038224834756257</c:v>
                </c:pt>
                <c:pt idx="2">
                  <c:v>-4.9168</c:v>
                </c:pt>
                <c:pt idx="3">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4.57</c:v>
                </c:pt>
                <c:pt idx="1">
                  <c:v>Av Price/Unit 9.96</c:v>
                </c:pt>
                <c:pt idx="2">
                  <c:v>Av Price/Unit 5.02</c:v>
                </c:pt>
                <c:pt idx="3">
                  <c:v>Av Price/Unit 16.62</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B$2:$B$5</c:f>
              <c:numCache>
                <c:formatCode>General</c:formatCode>
                <c:ptCount val="4"/>
                <c:pt idx="0">
                  <c:v>3.7319013056942776</c:v>
                </c:pt>
                <c:pt idx="1">
                  <c:v>1.8133430825652657</c:v>
                </c:pt>
                <c:pt idx="2">
                  <c:v>6.477154811051128</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C$2:$C$5</c:f>
              <c:numCache>
                <c:formatCode>General</c:formatCode>
                <c:ptCount val="4"/>
                <c:pt idx="0">
                  <c:v>1.3679986943057223</c:v>
                </c:pt>
                <c:pt idx="1">
                  <c:v>2.5049569174347344</c:v>
                </c:pt>
                <c:pt idx="2">
                  <c:v>2.6577451889488724</c:v>
                </c:pt>
                <c:pt idx="3">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D$2:$D$5</c:f>
              <c:numCache>
                <c:formatCode>General</c:formatCode>
                <c:ptCount val="4"/>
                <c:pt idx="0">
                  <c:v>3.8513384342828445</c:v>
                </c:pt>
                <c:pt idx="1">
                  <c:v>4.128448081841433</c:v>
                </c:pt>
                <c:pt idx="2">
                  <c:v>5.099460114322007</c:v>
                </c:pt>
                <c:pt idx="3">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8.45</c:v>
                </c:pt>
                <c:pt idx="2">
                  <c:v>Av Price/Unit 14.23</c:v>
                </c:pt>
                <c:pt idx="3">
                  <c:v>Av Price/Unit 19.49</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B$2:$B$7</c:f>
              <c:numCache>
                <c:formatCode>General</c:formatCode>
                <c:ptCount val="6"/>
                <c:pt idx="0">
                  <c:v>6.851935325602143</c:v>
                </c:pt>
                <c:pt idx="1">
                  <c:v>3.212840593782746</c:v>
                </c:pt>
                <c:pt idx="2">
                  <c:v>14.210997661380745</c:v>
                </c:pt>
                <c:pt idx="3">
                  <c:v>4.362660784313727</c:v>
                </c:pt>
                <c:pt idx="4">
                  <c:v>3.645284745762712</c:v>
                </c:pt>
                <c:pt idx="5">
                  <c:v>1.70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C$2:$C$7</c:f>
              <c:numCache>
                <c:formatCode>General</c:formatCode>
                <c:ptCount val="6"/>
                <c:pt idx="0">
                  <c:v>3.0701073392263396</c:v>
                </c:pt>
                <c:pt idx="1">
                  <c:v>2.8433297031086266</c:v>
                </c:pt>
                <c:pt idx="2">
                  <c:v>6.237651513695339</c:v>
                </c:pt>
                <c:pt idx="3">
                  <c:v>1.6393843137254902</c:v>
                </c:pt>
                <c:pt idx="4">
                  <c:v>2.3905322033898306</c:v>
                </c:pt>
                <c:pt idx="5">
                  <c:v>4.9947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D$2:$D$7</c:f>
              <c:numCache>
                <c:formatCode>General</c:formatCode>
                <c:ptCount val="6"/>
                <c:pt idx="0">
                  <c:v>4.685078760846647</c:v>
                </c:pt>
                <c:pt idx="1">
                  <c:v>3.9021842228431716</c:v>
                </c:pt>
                <c:pt idx="2">
                  <c:v>5.746769694057345</c:v>
                </c:pt>
                <c:pt idx="3">
                  <c:v>1.5255292335115866</c:v>
                </c:pt>
                <c:pt idx="4">
                  <c:v>3.3728459510357807</c:v>
                </c:pt>
                <c:pt idx="5">
                  <c:v>2.75878336933045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4.61</c:v>
                </c:pt>
                <c:pt idx="1">
                  <c:v>Av Price/Unit 9.96</c:v>
                </c:pt>
                <c:pt idx="2">
                  <c:v>Av Price/Unit 26.20</c:v>
                </c:pt>
                <c:pt idx="3">
                  <c:v>Av Price/Unit 7.53</c:v>
                </c:pt>
                <c:pt idx="4">
                  <c:v>Av Price/Unit 9.41</c:v>
                </c:pt>
                <c:pt idx="5">
                  <c:v>Av Price/Unit 9.46</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B$2:$B$2</c:f>
              <c:numCache>
                <c:formatCode>General</c:formatCode>
                <c:ptCount val="1"/>
                <c:pt idx="0">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C$2:$C$2</c:f>
              <c:numCache>
                <c:formatCode>General</c:formatCode>
                <c:ptCount val="1"/>
                <c:pt idx="0">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D$2:$D$2</c:f>
              <c:numCache>
                <c:formatCode>General</c:formatCode>
                <c:ptCount val="1"/>
                <c:pt idx="0">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0A3052F-A29C-4322-93EF-9CBE74292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95B346E-D072-4536-B02D-5F5B8F2DF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87D1234-0134-4AAB-91BE-ADC64151A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9147A11-AB9A-4167-A9C6-CF1792E3E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58F2F3E-260F-4CC5-90EF-C1E0E3097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8D0C299-0781-4493-81D7-B47510766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2B9B4C0-2096-4A75-BAA8-904EE0C9C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5EC07B0-CB9D-4024-B8BB-C1D168878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3878</c:v>
                </c:pt>
                <c:pt idx="1">
                  <c:v>0.3581</c:v>
                </c:pt>
                <c:pt idx="2">
                  <c:v>0.3511</c:v>
                </c:pt>
              </c:numCache>
            </c:numRef>
          </c:xVal>
          <c:yVal>
            <c:numRef>
              <c:f>Sheet1!$B$2:$B$4</c:f>
              <c:numCache>
                <c:formatCode>General</c:formatCode>
                <c:ptCount val="3"/>
                <c:pt idx="0">
                  <c:v>0.4532</c:v>
                </c:pt>
                <c:pt idx="1">
                  <c:v>0.436</c:v>
                </c:pt>
                <c:pt idx="2">
                  <c:v>0.4318</c:v>
                </c:pt>
              </c:numCache>
            </c:numRef>
          </c:yVal>
          <c:bubbleSize>
            <c:numRef>
              <c:f>Sheet1!$C$2:$C$4</c:f>
              <c:numCache>
                <c:formatCode>General</c:formatCode>
                <c:ptCount val="3"/>
                <c:pt idx="0">
                  <c:v>16442909.691899998</c:v>
                </c:pt>
                <c:pt idx="1">
                  <c:v>1309446.5603</c:v>
                </c:pt>
                <c:pt idx="2">
                  <c:v>1299025.5300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0.46535999999999994"/>
          <c:min val="0.2808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863635748583"/>
        <c:crossBetween val="midCat"/>
      </c:valAx>
      <c:valAx>
        <c:axId val="1011451359"/>
        <c:scaling>
          <c:orientation val="minMax"/>
          <c:max val="0.90384"/>
          <c:min val="0.1054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325624560036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B$2:$B$5</c:f>
              <c:numCache>
                <c:formatCode>General</c:formatCode>
                <c:ptCount val="4"/>
                <c:pt idx="0">
                  <c:v>3.731427616800377</c:v>
                </c:pt>
                <c:pt idx="1">
                  <c:v>6.477163045566108</c:v>
                </c:pt>
                <c:pt idx="2">
                  <c:v>1.811492131993631</c:v>
                </c:pt>
                <c:pt idx="3">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C$2:$C$5</c:f>
              <c:numCache>
                <c:formatCode>General</c:formatCode>
                <c:ptCount val="4"/>
                <c:pt idx="0">
                  <c:v>1.3684723831996224</c:v>
                </c:pt>
                <c:pt idx="1">
                  <c:v>2.6577369544338914</c:v>
                </c:pt>
                <c:pt idx="2">
                  <c:v>2.506807868006369</c:v>
                </c:pt>
                <c:pt idx="3">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D$2:$D$5</c:f>
              <c:numCache>
                <c:formatCode>General</c:formatCode>
                <c:ptCount val="4"/>
                <c:pt idx="0">
                  <c:v>3.8343604341670616</c:v>
                </c:pt>
                <c:pt idx="1">
                  <c:v>5.989739846334434</c:v>
                </c:pt>
                <c:pt idx="2">
                  <c:v>4.108488832152858</c:v>
                </c:pt>
                <c:pt idx="3">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3</c:v>
                </c:pt>
                <c:pt idx="1">
                  <c:v>Av Price/Unit 15.12</c:v>
                </c:pt>
                <c:pt idx="2">
                  <c:v>Av Price/Unit 8.43</c:v>
                </c:pt>
                <c:pt idx="3">
                  <c:v>Av Price/Unit 19.44</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B$2:$B$10</c:f>
              <c:numCache>
                <c:formatCode>General</c:formatCode>
                <c:ptCount val="9"/>
                <c:pt idx="0">
                  <c:v>6.839531646239956</c:v>
                </c:pt>
                <c:pt idx="1">
                  <c:v>14.192114738292009</c:v>
                </c:pt>
                <c:pt idx="2">
                  <c:v>3.2126581464138413</c:v>
                </c:pt>
                <c:pt idx="3">
                  <c:v>1.7043</c:v>
                </c:pt>
                <c:pt idx="4">
                  <c:v>3.642571242245906</c:v>
                </c:pt>
                <c:pt idx="5">
                  <c:v>4.363833966000991</c:v>
                </c:pt>
                <c:pt idx="6">
                  <c:v>8.1992</c:v>
                </c:pt>
                <c:pt idx="7">
                  <c:v>3.6566000000000005</c:v>
                </c:pt>
                <c:pt idx="8">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C$2:$C$10</c:f>
              <c:numCache>
                <c:formatCode>General</c:formatCode>
                <c:ptCount val="9"/>
                <c:pt idx="0">
                  <c:v>3.067845066222738</c:v>
                </c:pt>
                <c:pt idx="1">
                  <c:v>6.233713223140496</c:v>
                </c:pt>
                <c:pt idx="2">
                  <c:v>2.8434209267930792</c:v>
                </c:pt>
                <c:pt idx="3">
                  <c:v>4.9948</c:v>
                </c:pt>
                <c:pt idx="4">
                  <c:v>2.390701797359631</c:v>
                </c:pt>
                <c:pt idx="5">
                  <c:v>1.6382184188810034</c:v>
                </c:pt>
                <c:pt idx="6">
                  <c:v>2.1175</c:v>
                </c:pt>
                <c:pt idx="7">
                  <c:v>2.3597</c:v>
                </c:pt>
                <c:pt idx="8">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D$2:$D$10</c:f>
              <c:numCache>
                <c:formatCode>General</c:formatCode>
                <c:ptCount val="9"/>
                <c:pt idx="0">
                  <c:v>4.683508421164115</c:v>
                </c:pt>
                <c:pt idx="1">
                  <c:v>5.771711167797839</c:v>
                </c:pt>
                <c:pt idx="2">
                  <c:v>3.9015932615950515</c:v>
                </c:pt>
                <c:pt idx="3">
                  <c:v>1.9227027413210482</c:v>
                </c:pt>
                <c:pt idx="4">
                  <c:v>3.505060028630509</c:v>
                </c:pt>
                <c:pt idx="5">
                  <c:v>2.3440792374979385</c:v>
                </c:pt>
                <c:pt idx="6">
                  <c:v>-4.146964765525983</c:v>
                </c:pt>
                <c:pt idx="7">
                  <c:v>-2.4417807692307667</c:v>
                </c:pt>
                <c:pt idx="8">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4.59</c:v>
                </c:pt>
                <c:pt idx="1">
                  <c:v>Av Price/Unit 26.20</c:v>
                </c:pt>
                <c:pt idx="2">
                  <c:v>Av Price/Unit 9.96</c:v>
                </c:pt>
                <c:pt idx="3">
                  <c:v>Av Price/Unit 8.62</c:v>
                </c:pt>
                <c:pt idx="4">
                  <c:v>Av Price/Unit 9.54</c:v>
                </c:pt>
                <c:pt idx="5">
                  <c:v>Av Price/Unit 8.35</c:v>
                </c:pt>
                <c:pt idx="6">
                  <c:v>Av Price/Unit 6.05</c:v>
                </c:pt>
                <c:pt idx="7">
                  <c:v>Av Price/Unit 3.54</c:v>
                </c:pt>
                <c:pt idx="8">
                  <c:v>Av Price/Unit 3.71</c:v>
                </c:pt>
              </c:strCache>
            </c:strRef>
          </c:cat>
          <c:val>
            <c:numRef>
              <c:f>Sheet1!$E$2:$E$10</c:f>
              <c:numCache>
                <c:formatCode>General</c:formatCode>
                <c:ptCount val="9"/>
                <c:pt idx="0">
                  <c:v>0.0</c:v>
                </c:pt>
                <c:pt idx="1">
                  <c:v>0.0</c:v>
                </c:pt>
                <c:pt idx="2">
                  <c:v>0.0</c:v>
                </c:pt>
                <c:pt idx="3">
                  <c:v>0.0</c:v>
                </c:pt>
                <c:pt idx="4">
                  <c:v>0.0</c:v>
                </c:pt>
                <c:pt idx="5">
                  <c:v>0.0</c:v>
                </c:pt>
                <c:pt idx="6">
                  <c:v>0.0</c:v>
                </c:pt>
                <c:pt idx="7">
                  <c:v>0.0</c:v>
                </c:pt>
                <c:pt idx="8">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B$2:$B$3</c:f>
              <c:numCache>
                <c:formatCode>General</c:formatCode>
                <c:ptCount val="2"/>
                <c:pt idx="0">
                  <c:v>3.513407984599932</c:v>
                </c:pt>
                <c:pt idx="1">
                  <c:v>6.320834774436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C$2:$C$3</c:f>
              <c:numCache>
                <c:formatCode>General</c:formatCode>
                <c:ptCount val="2"/>
                <c:pt idx="0">
                  <c:v>5.943010227653164</c:v>
                </c:pt>
                <c:pt idx="1">
                  <c:v>2.5365119047619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D$2:$D$3</c:f>
              <c:numCache>
                <c:formatCode>General</c:formatCode>
                <c:ptCount val="2"/>
                <c:pt idx="0">
                  <c:v>5.477194877803816</c:v>
                </c:pt>
                <c:pt idx="1">
                  <c:v>4.677202474937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4.93</c:v>
                </c:pt>
                <c:pt idx="1">
                  <c:v>Av Price/Unit 13.53</c:v>
                </c:pt>
              </c:strCache>
            </c:strRef>
          </c:cat>
          <c:val>
            <c:numRef>
              <c:f>Sheet1!$E$2:$E$3</c:f>
              <c:numCache>
                <c:formatCode>General</c:formatCode>
                <c:ptCount val="2"/>
                <c:pt idx="0">
                  <c:v>0.0</c:v>
                </c:pt>
                <c:pt idx="1">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B$2:$B$6</c:f>
              <c:numCache>
                <c:formatCode>General</c:formatCode>
                <c:ptCount val="5"/>
                <c:pt idx="0">
                  <c:v>3.731684971057627</c:v>
                </c:pt>
                <c:pt idx="1">
                  <c:v>6.477163538161375</c:v>
                </c:pt>
                <c:pt idx="2">
                  <c:v>1.8129275374529839</c:v>
                </c:pt>
                <c:pt idx="3">
                  <c:v>8.009000000000002</c:v>
                </c:pt>
                <c:pt idx="4">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C$2:$C$6</c:f>
              <c:numCache>
                <c:formatCode>General</c:formatCode>
                <c:ptCount val="5"/>
                <c:pt idx="0">
                  <c:v>1.368215028942373</c:v>
                </c:pt>
                <c:pt idx="1">
                  <c:v>2.6577364618386254</c:v>
                </c:pt>
                <c:pt idx="2">
                  <c:v>2.5053724625470166</c:v>
                </c:pt>
                <c:pt idx="3">
                  <c:v>3.7053000000000003</c:v>
                </c:pt>
                <c:pt idx="4">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D$2:$D$6</c:f>
              <c:numCache>
                <c:formatCode>General</c:formatCode>
                <c:ptCount val="5"/>
                <c:pt idx="0">
                  <c:v>3.8479765070735015</c:v>
                </c:pt>
                <c:pt idx="1">
                  <c:v>6.164408628882589</c:v>
                </c:pt>
                <c:pt idx="2">
                  <c:v>4.1225074155841375</c:v>
                </c:pt>
                <c:pt idx="3">
                  <c:v>7.765849191877331</c:v>
                </c:pt>
                <c:pt idx="4">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8.95</c:v>
                </c:pt>
                <c:pt idx="1">
                  <c:v>Av Price/Unit 15.30</c:v>
                </c:pt>
                <c:pt idx="2">
                  <c:v>Av Price/Unit 8.44</c:v>
                </c:pt>
                <c:pt idx="3">
                  <c:v>Av Price/Unit 19.48</c:v>
                </c:pt>
                <c:pt idx="4">
                  <c:v>Av Price/Unit 2.68</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B$2:$B$9</c:f>
              <c:numCache>
                <c:formatCode>General</c:formatCode>
                <c:ptCount val="8"/>
                <c:pt idx="0">
                  <c:v>3.233711386309951</c:v>
                </c:pt>
                <c:pt idx="1">
                  <c:v>5.054899165457547</c:v>
                </c:pt>
                <c:pt idx="2">
                  <c:v>2.542119626734359</c:v>
                </c:pt>
                <c:pt idx="3">
                  <c:v>5.02659039075498</c:v>
                </c:pt>
                <c:pt idx="4">
                  <c:v>2.2291999999999996</c:v>
                </c:pt>
                <c:pt idx="5">
                  <c:v>4.7177</c:v>
                </c:pt>
                <c:pt idx="6">
                  <c:v>2.6842</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C$2:$C$9</c:f>
              <c:numCache>
                <c:formatCode>General</c:formatCode>
                <c:ptCount val="8"/>
                <c:pt idx="0">
                  <c:v>0.9783532936787319</c:v>
                </c:pt>
                <c:pt idx="1">
                  <c:v>2.704414323310152</c:v>
                </c:pt>
                <c:pt idx="2">
                  <c:v>1.5464536791312902</c:v>
                </c:pt>
                <c:pt idx="3">
                  <c:v>4.5703</c:v>
                </c:pt>
                <c:pt idx="4">
                  <c:v>4.399799999999999</c:v>
                </c:pt>
                <c:pt idx="5">
                  <c:v>2.7761000000000005</c:v>
                </c:pt>
                <c:pt idx="6">
                  <c:v>1.5422000000000002</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D$2:$D$9</c:f>
              <c:numCache>
                <c:formatCode>General</c:formatCode>
                <c:ptCount val="8"/>
                <c:pt idx="0">
                  <c:v>2.285114535560834</c:v>
                </c:pt>
                <c:pt idx="1">
                  <c:v>3.247973158553058</c:v>
                </c:pt>
                <c:pt idx="2">
                  <c:v>2.403455607478132</c:v>
                </c:pt>
                <c:pt idx="3">
                  <c:v>5.42089618038381</c:v>
                </c:pt>
                <c:pt idx="4">
                  <c:v>2.335967770032089</c:v>
                </c:pt>
                <c:pt idx="5">
                  <c:v>3.516074412807976</c:v>
                </c:pt>
                <c:pt idx="6">
                  <c:v>2.2714615812527894</c:v>
                </c:pt>
                <c:pt idx="7">
                  <c:v>5.202127189632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0</c:v>
                </c:pt>
                <c:pt idx="1">
                  <c:v>Av Price/Unit 11.01</c:v>
                </c:pt>
                <c:pt idx="2">
                  <c:v>Av Price/Unit 6.49</c:v>
                </c:pt>
                <c:pt idx="3">
                  <c:v>Av Price/Unit 15.02</c:v>
                </c:pt>
                <c:pt idx="4">
                  <c:v>Av Price/Unit 8.96</c:v>
                </c:pt>
                <c:pt idx="5">
                  <c:v>Av Price/Unit 11.01</c:v>
                </c:pt>
                <c:pt idx="6">
                  <c:v>Av Price/Unit 6.50</c:v>
                </c:pt>
                <c:pt idx="7">
                  <c:v>Av Price/Unit 15.03</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37819208969</c:v>
                </c:pt>
                <c:pt idx="1">
                  <c:v>-0.003430243957590782</c:v>
                </c:pt>
                <c:pt idx="2">
                  <c:v>1.7056911935876407</c:v>
                </c:pt>
                <c:pt idx="3">
                  <c:v>1.1328696165771632</c:v>
                </c:pt>
                <c:pt idx="4">
                  <c:v>0.8624432843284106</c:v>
                </c:pt>
                <c:pt idx="5">
                  <c:v>0.007397264522421947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621807910314</c:v>
                </c:pt>
                <c:pt idx="1">
                  <c:v>1.3028827290688574</c:v>
                </c:pt>
                <c:pt idx="2">
                  <c:v>1.5965622189302155</c:v>
                </c:pt>
                <c:pt idx="3">
                  <c:v>1.1631303834228373</c:v>
                </c:pt>
                <c:pt idx="4">
                  <c:v>0.9352138114366597</c:v>
                </c:pt>
                <c:pt idx="5">
                  <c:v>0.69604793428167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544815258828254</c:v>
                </c:pt>
                <c:pt idx="1">
                  <c:v>0.8778978962155624</c:v>
                </c:pt>
                <c:pt idx="2">
                  <c:v>2.67736377440347</c:v>
                </c:pt>
                <c:pt idx="3">
                  <c:v>1.8581278447161123</c:v>
                </c:pt>
                <c:pt idx="4">
                  <c:v>2.174250147950246</c:v>
                </c:pt>
                <c:pt idx="5">
                  <c:v>0.300003605440502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B$2:$B$9</c:f>
              <c:numCache>
                <c:formatCode>General</c:formatCode>
                <c:ptCount val="8"/>
                <c:pt idx="0">
                  <c:v>3.2338951948404397</c:v>
                </c:pt>
                <c:pt idx="1">
                  <c:v>5.055853692924589</c:v>
                </c:pt>
                <c:pt idx="2">
                  <c:v>2.5421692679824663</c:v>
                </c:pt>
                <c:pt idx="3">
                  <c:v>5.025506923942544</c:v>
                </c:pt>
                <c:pt idx="4">
                  <c:v>4.7177</c:v>
                </c:pt>
                <c:pt idx="5">
                  <c:v>4.8102</c:v>
                </c:pt>
                <c:pt idx="6">
                  <c:v>2.6842000000000006</c:v>
                </c:pt>
                <c:pt idx="7">
                  <c:v>2.22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C$2:$C$9</c:f>
              <c:numCache>
                <c:formatCode>General</c:formatCode>
                <c:ptCount val="8"/>
                <c:pt idx="0">
                  <c:v>0.97840348493798</c:v>
                </c:pt>
                <c:pt idx="1">
                  <c:v>2.7044202431768203</c:v>
                </c:pt>
                <c:pt idx="2">
                  <c:v>1.5464539916872968</c:v>
                </c:pt>
                <c:pt idx="3">
                  <c:v>4.5703000000000005</c:v>
                </c:pt>
                <c:pt idx="4">
                  <c:v>2.7761</c:v>
                </c:pt>
                <c:pt idx="5">
                  <c:v>5.0165</c:v>
                </c:pt>
                <c:pt idx="6">
                  <c:v>1.5422000000000002</c:v>
                </c:pt>
                <c:pt idx="7">
                  <c:v>4.3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D$2:$D$9</c:f>
              <c:numCache>
                <c:formatCode>General</c:formatCode>
                <c:ptCount val="8"/>
                <c:pt idx="0">
                  <c:v>2.3483884101467103</c:v>
                </c:pt>
                <c:pt idx="1">
                  <c:v>3.3410780494114602</c:v>
                </c:pt>
                <c:pt idx="2">
                  <c:v>2.4553521610756546</c:v>
                </c:pt>
                <c:pt idx="3">
                  <c:v>5.5877503673793605</c:v>
                </c:pt>
                <c:pt idx="4">
                  <c:v>3.6403016238868506</c:v>
                </c:pt>
                <c:pt idx="5">
                  <c:v>5.383490984284535</c:v>
                </c:pt>
                <c:pt idx="6">
                  <c:v>2.3442510388437228</c:v>
                </c:pt>
                <c:pt idx="7">
                  <c:v>2.97549560439560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56</c:v>
                </c:pt>
                <c:pt idx="1">
                  <c:v>Av Price/Unit 11.10</c:v>
                </c:pt>
                <c:pt idx="2">
                  <c:v>Av Price/Unit 6.54</c:v>
                </c:pt>
                <c:pt idx="3">
                  <c:v>Av Price/Unit 15.18</c:v>
                </c:pt>
                <c:pt idx="4">
                  <c:v>Av Price/Unit 11.13</c:v>
                </c:pt>
                <c:pt idx="5">
                  <c:v>Av Price/Unit 15.21</c:v>
                </c:pt>
                <c:pt idx="6">
                  <c:v>Av Price/Unit 6.57</c:v>
                </c:pt>
                <c:pt idx="7">
                  <c:v>Av Price/Unit 9.60</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B$2:$B$7</c:f>
              <c:numCache>
                <c:formatCode>General</c:formatCode>
                <c:ptCount val="6"/>
                <c:pt idx="0">
                  <c:v>1.3914279917437642</c:v>
                </c:pt>
                <c:pt idx="1">
                  <c:v>-0.004182630964775597</c:v>
                </c:pt>
                <c:pt idx="2">
                  <c:v>1.7060376426209658</c:v>
                </c:pt>
                <c:pt idx="3">
                  <c:v>1.1327056411257408</c:v>
                </c:pt>
                <c:pt idx="4">
                  <c:v>0.8628219693309717</c:v>
                </c:pt>
                <c:pt idx="5">
                  <c:v>0.0072837201226922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C$2:$C$7</c:f>
              <c:numCache>
                <c:formatCode>General</c:formatCode>
                <c:ptCount val="6"/>
                <c:pt idx="0">
                  <c:v>1.4418720082562353</c:v>
                </c:pt>
                <c:pt idx="1">
                  <c:v>1.3036357652451591</c:v>
                </c:pt>
                <c:pt idx="2">
                  <c:v>1.5962159688911657</c:v>
                </c:pt>
                <c:pt idx="3">
                  <c:v>1.1632943588742595</c:v>
                </c:pt>
                <c:pt idx="4">
                  <c:v>0.9348355467282192</c:v>
                </c:pt>
                <c:pt idx="5">
                  <c:v>0.696161294056369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D$2:$D$7</c:f>
              <c:numCache>
                <c:formatCode>General</c:formatCode>
                <c:ptCount val="6"/>
                <c:pt idx="0">
                  <c:v>2.7080953403413917</c:v>
                </c:pt>
                <c:pt idx="1">
                  <c:v>0.8782383366757269</c:v>
                </c:pt>
                <c:pt idx="2">
                  <c:v>2.679071955478973</c:v>
                </c:pt>
                <c:pt idx="3">
                  <c:v>1.9032435337331868</c:v>
                </c:pt>
                <c:pt idx="4">
                  <c:v>2.2055028915490187</c:v>
                </c:pt>
                <c:pt idx="5">
                  <c:v>0.314177075392921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54</c:v>
                </c:pt>
                <c:pt idx="1">
                  <c:v>Av Price/Unit 2.18</c:v>
                </c:pt>
                <c:pt idx="2">
                  <c:v>Av Price/Unit 5.98</c:v>
                </c:pt>
                <c:pt idx="3">
                  <c:v>Av Price/Unit 4.20</c:v>
                </c:pt>
                <c:pt idx="4">
                  <c:v>Av Price/Unit 4.00</c:v>
                </c:pt>
                <c:pt idx="5">
                  <c:v>Av Price/Unit 1.02</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B$2:$B$8</c:f>
              <c:numCache>
                <c:formatCode>General</c:formatCode>
                <c:ptCount val="7"/>
                <c:pt idx="0">
                  <c:v>5.061522740760723</c:v>
                </c:pt>
                <c:pt idx="1">
                  <c:v>3.2334426633358953</c:v>
                </c:pt>
                <c:pt idx="2">
                  <c:v>2.5448640435753433</c:v>
                </c:pt>
                <c:pt idx="3">
                  <c:v>5.040524876695438</c:v>
                </c:pt>
                <c:pt idx="4">
                  <c:v>4.7177</c:v>
                </c:pt>
                <c:pt idx="5">
                  <c:v>2.6842</c:v>
                </c:pt>
                <c:pt idx="6">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C$2:$C$8</c:f>
              <c:numCache>
                <c:formatCode>General</c:formatCode>
                <c:ptCount val="7"/>
                <c:pt idx="0">
                  <c:v>2.7044554019422713</c:v>
                </c:pt>
                <c:pt idx="1">
                  <c:v>0.978279915449654</c:v>
                </c:pt>
                <c:pt idx="2">
                  <c:v>1.546470958792882</c:v>
                </c:pt>
                <c:pt idx="3">
                  <c:v>4.5703</c:v>
                </c:pt>
                <c:pt idx="4">
                  <c:v>2.7761</c:v>
                </c:pt>
                <c:pt idx="5">
                  <c:v>1.5422</c:v>
                </c:pt>
                <c:pt idx="6">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D$2:$D$8</c:f>
              <c:numCache>
                <c:formatCode>General</c:formatCode>
                <c:ptCount val="7"/>
                <c:pt idx="0">
                  <c:v>3.261581818181818</c:v>
                </c:pt>
                <c:pt idx="1">
                  <c:v>2.299730149884703</c:v>
                </c:pt>
                <c:pt idx="2">
                  <c:v>2.408151879919706</c:v>
                </c:pt>
                <c:pt idx="3">
                  <c:v>5.370473931360461</c:v>
                </c:pt>
                <c:pt idx="4">
                  <c:v>3.5501560439560427</c:v>
                </c:pt>
                <c:pt idx="5">
                  <c:v>2.282073205741627</c:v>
                </c:pt>
                <c:pt idx="6">
                  <c:v>5.19444377104377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1.03</c:v>
                </c:pt>
                <c:pt idx="1">
                  <c:v>Av Price/Unit 6.51</c:v>
                </c:pt>
                <c:pt idx="2">
                  <c:v>Av Price/Unit 6.50</c:v>
                </c:pt>
                <c:pt idx="3">
                  <c:v>Av Price/Unit 14.98</c:v>
                </c:pt>
                <c:pt idx="4">
                  <c:v>Av Price/Unit 11.04</c:v>
                </c:pt>
                <c:pt idx="5">
                  <c:v>Av Price/Unit 6.51</c:v>
                </c:pt>
                <c:pt idx="6">
                  <c:v>Av Price/Unit 15.02</c:v>
                </c:pt>
              </c:strCache>
            </c:strRef>
          </c:cat>
          <c:val>
            <c:numRef>
              <c:f>Sheet1!$E$2:$E$8</c:f>
              <c:numCache>
                <c:formatCode>General</c:formatCode>
                <c:ptCount val="7"/>
                <c:pt idx="0">
                  <c:v>0.0</c:v>
                </c:pt>
                <c:pt idx="1">
                  <c:v>0.0</c:v>
                </c:pt>
                <c:pt idx="2">
                  <c:v>0.0</c:v>
                </c:pt>
                <c:pt idx="3">
                  <c:v>0.0</c:v>
                </c:pt>
                <c:pt idx="4">
                  <c:v>0.0</c:v>
                </c:pt>
                <c:pt idx="5">
                  <c:v>0.0</c:v>
                </c:pt>
                <c:pt idx="6">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B$2:$B$7</c:f>
              <c:numCache>
                <c:formatCode>General</c:formatCode>
                <c:ptCount val="6"/>
                <c:pt idx="0">
                  <c:v>1.3910074025933514</c:v>
                </c:pt>
                <c:pt idx="1">
                  <c:v>-0.0028238252861935344</c:v>
                </c:pt>
                <c:pt idx="2">
                  <c:v>1.7034869891422082</c:v>
                </c:pt>
                <c:pt idx="3">
                  <c:v>1.1333460349501125</c:v>
                </c:pt>
                <c:pt idx="4">
                  <c:v>0.008419116543434663</c:v>
                </c:pt>
                <c:pt idx="5">
                  <c:v>0.86092684926402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C$2:$C$7</c:f>
              <c:numCache>
                <c:formatCode>General</c:formatCode>
                <c:ptCount val="6"/>
                <c:pt idx="0">
                  <c:v>1.4422925974066485</c:v>
                </c:pt>
                <c:pt idx="1">
                  <c:v>1.3022757871716868</c:v>
                </c:pt>
                <c:pt idx="2">
                  <c:v>1.5987651573191026</c:v>
                </c:pt>
                <c:pt idx="3">
                  <c:v>1.1626539650498875</c:v>
                </c:pt>
                <c:pt idx="4">
                  <c:v>0.6950277438086686</c:v>
                </c:pt>
                <c:pt idx="5">
                  <c:v>0.93672856344326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D$2:$D$7</c:f>
              <c:numCache>
                <c:formatCode>General</c:formatCode>
                <c:ptCount val="6"/>
                <c:pt idx="0">
                  <c:v>2.66158920546122</c:v>
                </c:pt>
                <c:pt idx="1">
                  <c:v>0.8780065175509717</c:v>
                </c:pt>
                <c:pt idx="2">
                  <c:v>2.6723387340501414</c:v>
                </c:pt>
                <c:pt idx="3">
                  <c:v>1.8636544225926142</c:v>
                </c:pt>
                <c:pt idx="4">
                  <c:v>0.30592544320460635</c:v>
                </c:pt>
                <c:pt idx="5">
                  <c:v>2.17838279553500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9</c:v>
                </c:pt>
                <c:pt idx="1">
                  <c:v>Av Price/Unit 2.18</c:v>
                </c:pt>
                <c:pt idx="2">
                  <c:v>Av Price/Unit 5.97</c:v>
                </c:pt>
                <c:pt idx="3">
                  <c:v>Av Price/Unit 4.16</c:v>
                </c:pt>
                <c:pt idx="4">
                  <c:v>Av Price/Unit 1.01</c:v>
                </c:pt>
                <c:pt idx="5">
                  <c:v>Av Price/Unit 3.98</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9274BFD-D84B-4772-B4DF-FFD0C357A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FE4EE18-CBF8-403C-A6EA-07E10CD5F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A6CDF42-1C56-48D7-B553-D9FA226BE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383F30C-5747-41AE-B957-61D342743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CFC5B27-9E66-4CD6-AB89-1D7402756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AE8AB7D-67DB-4D83-AF9B-BE22B448F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E69414E-48BC-487E-906A-09DAF44A4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2B74262-B415-4456-ADD8-9CB6977AC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61</c:v>
                </c:pt>
                <c:pt idx="1">
                  <c:v>2.0202</c:v>
                </c:pt>
                <c:pt idx="2">
                  <c:v>2.0193</c:v>
                </c:pt>
              </c:numCache>
            </c:numRef>
          </c:xVal>
          <c:yVal>
            <c:numRef>
              <c:f>Sheet1!$B$2:$B$4</c:f>
              <c:numCache>
                <c:formatCode>General</c:formatCode>
                <c:ptCount val="3"/>
                <c:pt idx="0">
                  <c:v>0.4432</c:v>
                </c:pt>
                <c:pt idx="1">
                  <c:v>0.5259</c:v>
                </c:pt>
                <c:pt idx="2">
                  <c:v>0.5308</c:v>
                </c:pt>
              </c:numCache>
            </c:numRef>
          </c:yVal>
          <c:bubbleSize>
            <c:numRef>
              <c:f>Sheet1!$C$2:$C$4</c:f>
              <c:numCache>
                <c:formatCode>General</c:formatCode>
                <c:ptCount val="3"/>
                <c:pt idx="0">
                  <c:v>3375658.9168999996</c:v>
                </c:pt>
                <c:pt idx="1">
                  <c:v>181538.09279999993</c:v>
                </c:pt>
                <c:pt idx="2">
                  <c:v>176237.340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0332"/>
          <c:min val="1.615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56455547857"/>
        <c:crossBetween val="midCat"/>
      </c:valAx>
      <c:valAx>
        <c:axId val="1011451359"/>
        <c:scaling>
          <c:orientation val="minMax"/>
          <c:max val="0.99696"/>
          <c:min val="0.114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7974231095379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B$2:$B$9</c:f>
              <c:numCache>
                <c:formatCode>General</c:formatCode>
                <c:ptCount val="8"/>
                <c:pt idx="0">
                  <c:v>3.233715215106926</c:v>
                </c:pt>
                <c:pt idx="1">
                  <c:v>5.054232970869206</c:v>
                </c:pt>
                <c:pt idx="2">
                  <c:v>2.541888380255395</c:v>
                </c:pt>
                <c:pt idx="3">
                  <c:v>5.025910217783153</c:v>
                </c:pt>
                <c:pt idx="4">
                  <c:v>2.2291999999999996</c:v>
                </c:pt>
                <c:pt idx="5">
                  <c:v>4.7177</c:v>
                </c:pt>
                <c:pt idx="6">
                  <c:v>2.6841999999999997</c:v>
                </c:pt>
                <c:pt idx="7">
                  <c:v>4.8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C$2:$C$9</c:f>
              <c:numCache>
                <c:formatCode>General</c:formatCode>
                <c:ptCount val="8"/>
                <c:pt idx="0">
                  <c:v>0.9783543391804891</c:v>
                </c:pt>
                <c:pt idx="1">
                  <c:v>2.7044101916499583</c:v>
                </c:pt>
                <c:pt idx="2">
                  <c:v>1.5464522231349414</c:v>
                </c:pt>
                <c:pt idx="3">
                  <c:v>4.5703</c:v>
                </c:pt>
                <c:pt idx="4">
                  <c:v>4.3998</c:v>
                </c:pt>
                <c:pt idx="5">
                  <c:v>2.7761</c:v>
                </c:pt>
                <c:pt idx="6">
                  <c:v>1.5421999999999998</c:v>
                </c:pt>
                <c:pt idx="7">
                  <c:v>5.01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D$2:$D$9</c:f>
              <c:numCache>
                <c:formatCode>General</c:formatCode>
                <c:ptCount val="8"/>
                <c:pt idx="0">
                  <c:v>2.2777927239644518</c:v>
                </c:pt>
                <c:pt idx="1">
                  <c:v>3.2382940865668104</c:v>
                </c:pt>
                <c:pt idx="2">
                  <c:v>2.398801040997685</c:v>
                </c:pt>
                <c:pt idx="3">
                  <c:v>5.409317070708223</c:v>
                </c:pt>
                <c:pt idx="4">
                  <c:v>2.334137826183455</c:v>
                </c:pt>
                <c:pt idx="5">
                  <c:v>3.502975628196574</c:v>
                </c:pt>
                <c:pt idx="6">
                  <c:v>2.2649567847350456</c:v>
                </c:pt>
                <c:pt idx="7">
                  <c:v>5.1862390128390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6.49</c:v>
                </c:pt>
                <c:pt idx="1">
                  <c:v>Av Price/Unit 11.00</c:v>
                </c:pt>
                <c:pt idx="2">
                  <c:v>Av Price/Unit 6.49</c:v>
                </c:pt>
                <c:pt idx="3">
                  <c:v>Av Price/Unit 15.01</c:v>
                </c:pt>
                <c:pt idx="4">
                  <c:v>Av Price/Unit 8.96</c:v>
                </c:pt>
                <c:pt idx="5">
                  <c:v>Av Price/Unit 11.00</c:v>
                </c:pt>
                <c:pt idx="6">
                  <c:v>Av Price/Unit 6.49</c:v>
                </c:pt>
                <c:pt idx="7">
                  <c:v>Av Price/Unit 15.01</c:v>
                </c:pt>
              </c:strCache>
            </c:strRef>
          </c:cat>
          <c:val>
            <c:numRef>
              <c:f>Sheet1!$E$2:$E$9</c:f>
              <c:numCache>
                <c:formatCode>General</c:formatCode>
                <c:ptCount val="8"/>
                <c:pt idx="0">
                  <c:v>0.0</c:v>
                </c:pt>
                <c:pt idx="1">
                  <c:v>0.0</c:v>
                </c:pt>
                <c:pt idx="2">
                  <c:v>0.0</c:v>
                </c:pt>
                <c:pt idx="3">
                  <c:v>0.0</c:v>
                </c:pt>
                <c:pt idx="4">
                  <c:v>0.0</c:v>
                </c:pt>
                <c:pt idx="5">
                  <c:v>0.0</c:v>
                </c:pt>
                <c:pt idx="6">
                  <c:v>0.0</c:v>
                </c:pt>
                <c:pt idx="7">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B$2:$B$7</c:f>
              <c:numCache>
                <c:formatCode>General</c:formatCode>
                <c:ptCount val="6"/>
                <c:pt idx="0">
                  <c:v>1.3913535853264212</c:v>
                </c:pt>
                <c:pt idx="1">
                  <c:v>-0.0034127103466726418</c:v>
                </c:pt>
                <c:pt idx="2">
                  <c:v>1.7058220196056355</c:v>
                </c:pt>
                <c:pt idx="3">
                  <c:v>1.132846593286125</c:v>
                </c:pt>
                <c:pt idx="4">
                  <c:v>0.862530590935272</c:v>
                </c:pt>
                <c:pt idx="5">
                  <c:v>0.007293137526888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C$2:$C$7</c:f>
              <c:numCache>
                <c:formatCode>General</c:formatCode>
                <c:ptCount val="6"/>
                <c:pt idx="0">
                  <c:v>1.441946414673579</c:v>
                </c:pt>
                <c:pt idx="1">
                  <c:v>1.3028651803297155</c:v>
                </c:pt>
                <c:pt idx="2">
                  <c:v>1.5964314680564011</c:v>
                </c:pt>
                <c:pt idx="3">
                  <c:v>1.1631534067138753</c:v>
                </c:pt>
                <c:pt idx="4">
                  <c:v>0.9351266017294732</c:v>
                </c:pt>
                <c:pt idx="5">
                  <c:v>0.69615189196502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D$2:$D$7</c:f>
              <c:numCache>
                <c:formatCode>General</c:formatCode>
                <c:ptCount val="6"/>
                <c:pt idx="0">
                  <c:v>2.649763853189348</c:v>
                </c:pt>
                <c:pt idx="1">
                  <c:v>0.877855437315233</c:v>
                </c:pt>
                <c:pt idx="2">
                  <c:v>2.6775867628565373</c:v>
                </c:pt>
                <c:pt idx="3">
                  <c:v>1.8539354866522482</c:v>
                </c:pt>
                <c:pt idx="4">
                  <c:v>2.171707915321968</c:v>
                </c:pt>
                <c:pt idx="5">
                  <c:v>0.298174359801346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5.48</c:v>
                </c:pt>
                <c:pt idx="1">
                  <c:v>Av Price/Unit 2.18</c:v>
                </c:pt>
                <c:pt idx="2">
                  <c:v>Av Price/Unit 5.98</c:v>
                </c:pt>
                <c:pt idx="3">
                  <c:v>Av Price/Unit 4.15</c:v>
                </c:pt>
                <c:pt idx="4">
                  <c:v>Av Price/Unit 3.97</c:v>
                </c:pt>
                <c:pt idx="5">
                  <c:v>Av Price/Unit 1.00</c:v>
                </c:pt>
              </c:strCache>
            </c:strRef>
          </c:cat>
          <c:val>
            <c:numRef>
              <c:f>Sheet1!$E$2:$E$7</c:f>
              <c:numCache>
                <c:formatCode>General</c:formatCode>
                <c:ptCount val="6"/>
                <c:pt idx="0">
                  <c:v>0.0</c:v>
                </c:pt>
                <c:pt idx="1">
                  <c:v>0.0</c:v>
                </c:pt>
                <c:pt idx="2">
                  <c:v>0.0</c:v>
                </c:pt>
                <c:pt idx="3">
                  <c:v>0.0</c:v>
                </c:pt>
                <c:pt idx="4">
                  <c:v>0.0</c:v>
                </c:pt>
                <c:pt idx="5">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B$2:$B$4</c:f>
              <c:numCache>
                <c:formatCode>General</c:formatCode>
                <c:ptCount val="3"/>
                <c:pt idx="0">
                  <c:v>3.212840593782746</c:v>
                </c:pt>
                <c:pt idx="1">
                  <c:v>3.645284745762712</c:v>
                </c:pt>
                <c:pt idx="2">
                  <c:v>1.70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C$2:$C$4</c:f>
              <c:numCache>
                <c:formatCode>General</c:formatCode>
                <c:ptCount val="3"/>
                <c:pt idx="0">
                  <c:v>2.8433297031086266</c:v>
                </c:pt>
                <c:pt idx="1">
                  <c:v>2.3905322033898306</c:v>
                </c:pt>
                <c:pt idx="2">
                  <c:v>4.9947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D$2:$D$4</c:f>
              <c:numCache>
                <c:formatCode>General</c:formatCode>
                <c:ptCount val="3"/>
                <c:pt idx="0">
                  <c:v>3.9021842228431716</c:v>
                </c:pt>
                <c:pt idx="1">
                  <c:v>3.3728459510357807</c:v>
                </c:pt>
                <c:pt idx="2">
                  <c:v>2.75878336933045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9.96</c:v>
                </c:pt>
                <c:pt idx="1">
                  <c:v>Av Price/Unit 9.41</c:v>
                </c:pt>
                <c:pt idx="2">
                  <c:v>Av Price/Unit 9.46</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B$2:$B$2</c:f>
              <c:numCache>
                <c:formatCode>General</c:formatCode>
                <c:ptCount val="1"/>
                <c:pt idx="0">
                  <c:v>3.5208127388535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C$2:$C$2</c:f>
              <c:numCache>
                <c:formatCode>General</c:formatCode>
                <c:ptCount val="1"/>
                <c:pt idx="0">
                  <c:v>5.9445821656050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D$2:$D$2</c:f>
              <c:numCache>
                <c:formatCode>General</c:formatCode>
                <c:ptCount val="1"/>
                <c:pt idx="0">
                  <c:v>5.585461783439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5.0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B$2:$B$2</c:f>
              <c:numCache>
                <c:formatCode>General</c:formatCode>
                <c:ptCount val="1"/>
                <c:pt idx="0">
                  <c:v>1.8114921319936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C$2:$C$2</c:f>
              <c:numCache>
                <c:formatCode>General</c:formatCode>
                <c:ptCount val="1"/>
                <c:pt idx="0">
                  <c:v>2.50680786800636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D$2:$D$2</c:f>
              <c:numCache>
                <c:formatCode>General</c:formatCode>
                <c:ptCount val="1"/>
                <c:pt idx="0">
                  <c:v>4.10848883215285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B$2:$B$5</c:f>
              <c:numCache>
                <c:formatCode>General</c:formatCode>
                <c:ptCount val="4"/>
                <c:pt idx="0">
                  <c:v>3.212480951011117</c:v>
                </c:pt>
                <c:pt idx="1">
                  <c:v>1.7043</c:v>
                </c:pt>
                <c:pt idx="2">
                  <c:v>3.6424507269253144</c:v>
                </c:pt>
                <c:pt idx="3">
                  <c:v>3.65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C$2:$C$5</c:f>
              <c:numCache>
                <c:formatCode>General</c:formatCode>
                <c:ptCount val="4"/>
                <c:pt idx="0">
                  <c:v>2.8435095244944413</c:v>
                </c:pt>
                <c:pt idx="1">
                  <c:v>4.9948</c:v>
                </c:pt>
                <c:pt idx="2">
                  <c:v>2.390709329567168</c:v>
                </c:pt>
                <c:pt idx="3">
                  <c:v>2.35970000000000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D$2:$D$5</c:f>
              <c:numCache>
                <c:formatCode>General</c:formatCode>
                <c:ptCount val="4"/>
                <c:pt idx="0">
                  <c:v>3.9013673510708635</c:v>
                </c:pt>
                <c:pt idx="1">
                  <c:v>1.9202117629885382</c:v>
                </c:pt>
                <c:pt idx="2">
                  <c:v>3.5119923901304313</c:v>
                </c:pt>
                <c:pt idx="3">
                  <c:v>-2.38839302325581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5</c:v>
                </c:pt>
                <c:pt idx="3">
                  <c:v>Av Price/Unit 3.5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B$2:$B$2</c:f>
              <c:numCache>
                <c:formatCode>General</c:formatCode>
                <c:ptCount val="1"/>
                <c:pt idx="0">
                  <c:v>3.51320813133917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C$2:$C$2</c:f>
              <c:numCache>
                <c:formatCode>General</c:formatCode>
                <c:ptCount val="1"/>
                <c:pt idx="0">
                  <c:v>5.94296780127213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D$2:$D$2</c:f>
              <c:numCache>
                <c:formatCode>General</c:formatCode>
                <c:ptCount val="1"/>
                <c:pt idx="0">
                  <c:v>5.47427276946879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9987786259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0012213740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305295729317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B$2:$B$2</c:f>
              <c:numCache>
                <c:formatCode>General</c:formatCode>
                <c:ptCount val="1"/>
                <c:pt idx="0">
                  <c:v>3.21468369595152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C$2:$C$2</c:f>
              <c:numCache>
                <c:formatCode>General</c:formatCode>
                <c:ptCount val="1"/>
                <c:pt idx="0">
                  <c:v>2.84240815202423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D$2:$D$2</c:f>
              <c:numCache>
                <c:formatCode>General</c:formatCode>
                <c:ptCount val="1"/>
                <c:pt idx="0">
                  <c:v>3.90382248347562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9.96</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B$2:$B$2</c:f>
              <c:numCache>
                <c:formatCode>General</c:formatCode>
                <c:ptCount val="1"/>
                <c:pt idx="0">
                  <c:v>1.81334308256526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C$2:$C$2</c:f>
              <c:numCache>
                <c:formatCode>General</c:formatCode>
                <c:ptCount val="1"/>
                <c:pt idx="0">
                  <c:v>2.5049569174347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D$2:$D$2</c:f>
              <c:numCache>
                <c:formatCode>General</c:formatCode>
                <c:ptCount val="1"/>
                <c:pt idx="0">
                  <c:v>4.1284480818414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5</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C30DB2A-7BB5-4F1E-A46B-66A2C530D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DC986F2-EFF8-43C3-B5FE-464940DFB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35EB2EE-EFD4-444E-B894-B7231741F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658819C-87F9-473E-BFD7-442C17CAB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6E6B1D7-955C-4A9E-966E-1738DECD9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17881E2-495D-4138-AC89-7A463B263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B5CAB07-8CC9-49E4-BED4-044A08DFD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222D39C-37B8-40AA-AEC1-34A7D7C21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2</c:v>
                </c:pt>
                <c:pt idx="1">
                  <c:v>2.1586</c:v>
                </c:pt>
                <c:pt idx="2">
                  <c:v>2.1589</c:v>
                </c:pt>
              </c:numCache>
            </c:numRef>
          </c:xVal>
          <c:yVal>
            <c:numRef>
              <c:f>Sheet1!$B$2:$B$4</c:f>
              <c:numCache>
                <c:formatCode>General</c:formatCode>
                <c:ptCount val="3"/>
                <c:pt idx="0">
                  <c:v>0.4198</c:v>
                </c:pt>
                <c:pt idx="1">
                  <c:v>0.4195</c:v>
                </c:pt>
                <c:pt idx="2">
                  <c:v>0.4199</c:v>
                </c:pt>
              </c:numCache>
            </c:numRef>
          </c:yVal>
          <c:bubbleSize>
            <c:numRef>
              <c:f>Sheet1!$C$2:$C$4</c:f>
              <c:numCache>
                <c:formatCode>General</c:formatCode>
                <c:ptCount val="3"/>
                <c:pt idx="0">
                  <c:v>1046552.1158</c:v>
                </c:pt>
                <c:pt idx="1">
                  <c:v>78650.09289999999</c:v>
                </c:pt>
                <c:pt idx="2">
                  <c:v>89489.1703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1.7268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78794252508744"/>
        <c:crossBetween val="midCat"/>
      </c:valAx>
      <c:valAx>
        <c:axId val="1011451359"/>
        <c:scaling>
          <c:orientation val="minMax"/>
          <c:max val="0.86388"/>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3904887436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B$2:$B$5</c:f>
              <c:numCache>
                <c:formatCode>General</c:formatCode>
                <c:ptCount val="4"/>
                <c:pt idx="0">
                  <c:v>3.2126581464138413</c:v>
                </c:pt>
                <c:pt idx="1">
                  <c:v>1.7043</c:v>
                </c:pt>
                <c:pt idx="2">
                  <c:v>3.642571242245906</c:v>
                </c:pt>
                <c:pt idx="3">
                  <c:v>3.65660000000000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C$2:$C$5</c:f>
              <c:numCache>
                <c:formatCode>General</c:formatCode>
                <c:ptCount val="4"/>
                <c:pt idx="0">
                  <c:v>2.8434209267930792</c:v>
                </c:pt>
                <c:pt idx="1">
                  <c:v>4.9948</c:v>
                </c:pt>
                <c:pt idx="2">
                  <c:v>2.390701797359631</c:v>
                </c:pt>
                <c:pt idx="3">
                  <c:v>2.35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D$2:$D$5</c:f>
              <c:numCache>
                <c:formatCode>General</c:formatCode>
                <c:ptCount val="4"/>
                <c:pt idx="0">
                  <c:v>3.9015932615950515</c:v>
                </c:pt>
                <c:pt idx="1">
                  <c:v>1.9227027413210482</c:v>
                </c:pt>
                <c:pt idx="2">
                  <c:v>3.505060028630509</c:v>
                </c:pt>
                <c:pt idx="3">
                  <c:v>-2.44178076923076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9.96</c:v>
                </c:pt>
                <c:pt idx="1">
                  <c:v>Av Price/Unit 8.62</c:v>
                </c:pt>
                <c:pt idx="2">
                  <c:v>Av Price/Unit 9.54</c:v>
                </c:pt>
                <c:pt idx="3">
                  <c:v>Av Price/Unit 3.54</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B$2:$B$2</c:f>
              <c:numCache>
                <c:formatCode>General</c:formatCode>
                <c:ptCount val="1"/>
                <c:pt idx="0">
                  <c:v>3.5134079845999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C$2:$C$2</c:f>
              <c:numCache>
                <c:formatCode>General</c:formatCode>
                <c:ptCount val="1"/>
                <c:pt idx="0">
                  <c:v>5.94301022765316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D$2:$D$2</c:f>
              <c:numCache>
                <c:formatCode>General</c:formatCode>
                <c:ptCount val="1"/>
                <c:pt idx="0">
                  <c:v>5.4771948778038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4.9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B$2:$B$2</c:f>
              <c:numCache>
                <c:formatCode>General</c:formatCode>
                <c:ptCount val="1"/>
                <c:pt idx="0">
                  <c:v>1.81292753745298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C$2:$C$2</c:f>
              <c:numCache>
                <c:formatCode>General</c:formatCode>
                <c:ptCount val="1"/>
                <c:pt idx="0">
                  <c:v>2.50537246254701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D$2:$D$2</c:f>
              <c:numCache>
                <c:formatCode>General</c:formatCode>
                <c:ptCount val="1"/>
                <c:pt idx="0">
                  <c:v>4.12250741558413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8.44</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B$2:$B$6</c:f>
              <c:numCache>
                <c:formatCode>General</c:formatCode>
                <c:ptCount val="5"/>
                <c:pt idx="0">
                  <c:v>6.839531646239956</c:v>
                </c:pt>
                <c:pt idx="1">
                  <c:v>14.192114738292009</c:v>
                </c:pt>
                <c:pt idx="2">
                  <c:v>4.363833966000991</c:v>
                </c:pt>
                <c:pt idx="3">
                  <c:v>8.1992</c:v>
                </c:pt>
                <c:pt idx="4">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C$2:$C$6</c:f>
              <c:numCache>
                <c:formatCode>General</c:formatCode>
                <c:ptCount val="5"/>
                <c:pt idx="0">
                  <c:v>3.067845066222738</c:v>
                </c:pt>
                <c:pt idx="1">
                  <c:v>6.233713223140496</c:v>
                </c:pt>
                <c:pt idx="2">
                  <c:v>1.6382184188810034</c:v>
                </c:pt>
                <c:pt idx="3">
                  <c:v>2.1175</c:v>
                </c:pt>
                <c:pt idx="4">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D$2:$D$6</c:f>
              <c:numCache>
                <c:formatCode>General</c:formatCode>
                <c:ptCount val="5"/>
                <c:pt idx="0">
                  <c:v>4.683508421164115</c:v>
                </c:pt>
                <c:pt idx="1">
                  <c:v>5.771711167797839</c:v>
                </c:pt>
                <c:pt idx="2">
                  <c:v>2.3440792374979385</c:v>
                </c:pt>
                <c:pt idx="3">
                  <c:v>-4.146964765525983</c:v>
                </c:pt>
                <c:pt idx="4">
                  <c:v>-6.4922385964912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5</c:v>
                </c:pt>
                <c:pt idx="3">
                  <c:v>Av Price/Unit 6.05</c:v>
                </c:pt>
                <c:pt idx="4">
                  <c:v>Av Price/Unit 3.71</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B$2:$B$2</c:f>
              <c:numCache>
                <c:formatCode>General</c:formatCode>
                <c:ptCount val="1"/>
                <c:pt idx="0">
                  <c:v>6.3208347744360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C$2:$C$2</c:f>
              <c:numCache>
                <c:formatCode>General</c:formatCode>
                <c:ptCount val="1"/>
                <c:pt idx="0">
                  <c:v>2.5365119047619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D$2:$D$2</c:f>
              <c:numCache>
                <c:formatCode>General</c:formatCode>
                <c:ptCount val="1"/>
                <c:pt idx="0">
                  <c:v>4.677202474937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3</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B$2:$B$5</c:f>
              <c:numCache>
                <c:formatCode>General</c:formatCode>
                <c:ptCount val="4"/>
                <c:pt idx="0">
                  <c:v>3.731684971057627</c:v>
                </c:pt>
                <c:pt idx="1">
                  <c:v>6.477163538161375</c:v>
                </c:pt>
                <c:pt idx="2">
                  <c:v>8.009000000000002</c:v>
                </c:pt>
                <c:pt idx="3">
                  <c:v>2.7782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C$2:$C$5</c:f>
              <c:numCache>
                <c:formatCode>General</c:formatCode>
                <c:ptCount val="4"/>
                <c:pt idx="0">
                  <c:v>1.368215028942373</c:v>
                </c:pt>
                <c:pt idx="1">
                  <c:v>2.6577364618386254</c:v>
                </c:pt>
                <c:pt idx="2">
                  <c:v>3.7053000000000003</c:v>
                </c:pt>
                <c:pt idx="3">
                  <c:v>0.98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D$2:$D$5</c:f>
              <c:numCache>
                <c:formatCode>General</c:formatCode>
                <c:ptCount val="4"/>
                <c:pt idx="0">
                  <c:v>3.8479765070735015</c:v>
                </c:pt>
                <c:pt idx="1">
                  <c:v>6.164408628882589</c:v>
                </c:pt>
                <c:pt idx="2">
                  <c:v>7.765849191877331</c:v>
                </c:pt>
                <c:pt idx="3">
                  <c:v>-1.08442405498281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8.95</c:v>
                </c:pt>
                <c:pt idx="1">
                  <c:v>Av Price/Unit 15.30</c:v>
                </c:pt>
                <c:pt idx="2">
                  <c:v>Av Price/Unit 19.48</c:v>
                </c:pt>
                <c:pt idx="3">
                  <c:v>Av Price/Unit 2.68</c:v>
                </c:pt>
              </c:strCache>
            </c:strRef>
          </c:cat>
          <c:val>
            <c:numRef>
              <c:f>Sheet1!$E$2:$E$5</c:f>
              <c:numCache>
                <c:formatCode>General</c:formatCode>
                <c:ptCount val="4"/>
                <c:pt idx="0">
                  <c:v>0.0</c:v>
                </c:pt>
                <c:pt idx="1">
                  <c:v>0.0</c:v>
                </c:pt>
                <c:pt idx="2">
                  <c:v>0.0</c:v>
                </c:pt>
                <c:pt idx="3">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B$2:$B$4</c:f>
              <c:numCache>
                <c:formatCode>General</c:formatCode>
                <c:ptCount val="3"/>
                <c:pt idx="0">
                  <c:v>6.851935325602143</c:v>
                </c:pt>
                <c:pt idx="1">
                  <c:v>14.210997661380745</c:v>
                </c:pt>
                <c:pt idx="2">
                  <c:v>4.36266078431372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C$2:$C$4</c:f>
              <c:numCache>
                <c:formatCode>General</c:formatCode>
                <c:ptCount val="3"/>
                <c:pt idx="0">
                  <c:v>3.0701073392263396</c:v>
                </c:pt>
                <c:pt idx="1">
                  <c:v>6.237651513695339</c:v>
                </c:pt>
                <c:pt idx="2">
                  <c:v>1.63938431372549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D$2:$D$4</c:f>
              <c:numCache>
                <c:formatCode>General</c:formatCode>
                <c:ptCount val="3"/>
                <c:pt idx="0">
                  <c:v>4.685078760846647</c:v>
                </c:pt>
                <c:pt idx="1">
                  <c:v>5.746769694057345</c:v>
                </c:pt>
                <c:pt idx="2">
                  <c:v>1.5255292335115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61</c:v>
                </c:pt>
                <c:pt idx="1">
                  <c:v>Av Price/Unit 26.20</c:v>
                </c:pt>
                <c:pt idx="2">
                  <c:v>Av Price/Unit 7.53</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B$2:$B$4</c:f>
              <c:numCache>
                <c:formatCode>General</c:formatCode>
                <c:ptCount val="3"/>
                <c:pt idx="0">
                  <c:v>3.731427616800377</c:v>
                </c:pt>
                <c:pt idx="1">
                  <c:v>6.47716304556610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C$2:$C$4</c:f>
              <c:numCache>
                <c:formatCode>General</c:formatCode>
                <c:ptCount val="3"/>
                <c:pt idx="0">
                  <c:v>1.3684723831996224</c:v>
                </c:pt>
                <c:pt idx="1">
                  <c:v>2.6577369544338914</c:v>
                </c:pt>
                <c:pt idx="2">
                  <c:v>3.7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D$2:$D$4</c:f>
              <c:numCache>
                <c:formatCode>General</c:formatCode>
                <c:ptCount val="3"/>
                <c:pt idx="0">
                  <c:v>3.8343604341670616</c:v>
                </c:pt>
                <c:pt idx="1">
                  <c:v>5.989739846334434</c:v>
                </c:pt>
                <c:pt idx="2">
                  <c:v>7.724562928348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3</c:v>
                </c:pt>
                <c:pt idx="1">
                  <c:v>Av Price/Unit 15.12</c:v>
                </c:pt>
                <c:pt idx="2">
                  <c:v>Av Price/Unit 19.44</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B$2:$B$4</c:f>
              <c:numCache>
                <c:formatCode>General</c:formatCode>
                <c:ptCount val="3"/>
                <c:pt idx="0">
                  <c:v>6.834024652851955</c:v>
                </c:pt>
                <c:pt idx="1">
                  <c:v>8.1992</c:v>
                </c:pt>
                <c:pt idx="2">
                  <c:v>14.45826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C$2:$C$4</c:f>
              <c:numCache>
                <c:formatCode>General</c:formatCode>
                <c:ptCount val="3"/>
                <c:pt idx="0">
                  <c:v>3.066840660827458</c:v>
                </c:pt>
                <c:pt idx="1">
                  <c:v>2.1174999999999997</c:v>
                </c:pt>
                <c:pt idx="2">
                  <c:v>6.28922181818181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D$2:$D$4</c:f>
              <c:numCache>
                <c:formatCode>General</c:formatCode>
                <c:ptCount val="3"/>
                <c:pt idx="0">
                  <c:v>4.6694399772128445</c:v>
                </c:pt>
                <c:pt idx="1">
                  <c:v>-4.9168</c:v>
                </c:pt>
                <c:pt idx="2">
                  <c:v>-4.12930181818181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4.57</c:v>
                </c:pt>
                <c:pt idx="1">
                  <c:v>Av Price/Unit 5.02</c:v>
                </c:pt>
                <c:pt idx="2">
                  <c:v>Av Price/Unit 16.62</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B$2:$B$4</c:f>
              <c:numCache>
                <c:formatCode>General</c:formatCode>
                <c:ptCount val="3"/>
                <c:pt idx="0">
                  <c:v>3.7319013056942776</c:v>
                </c:pt>
                <c:pt idx="1">
                  <c:v>6.477154811051128</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C$2:$C$4</c:f>
              <c:numCache>
                <c:formatCode>General</c:formatCode>
                <c:ptCount val="3"/>
                <c:pt idx="0">
                  <c:v>1.3679986943057223</c:v>
                </c:pt>
                <c:pt idx="1">
                  <c:v>2.6577451889488724</c:v>
                </c:pt>
                <c:pt idx="2">
                  <c:v>3.7052999999999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D$2:$D$4</c:f>
              <c:numCache>
                <c:formatCode>General</c:formatCode>
                <c:ptCount val="3"/>
                <c:pt idx="0">
                  <c:v>3.8513384342828445</c:v>
                </c:pt>
                <c:pt idx="1">
                  <c:v>5.099460114322007</c:v>
                </c:pt>
                <c:pt idx="2">
                  <c:v>7.7728688741721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4.23</c:v>
                </c:pt>
                <c:pt idx="2">
                  <c:v>Av Price/Unit 19.49</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5AA7735-9708-4CA9-9AB9-B464D4428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B40B7C6-3352-47C6-99D8-76E401AB4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A484B3E-6ABA-4480-A263-87A9D772A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1B49BBF-F196-4414-AD9F-7691FF428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D509A45-45D1-431F-82A0-40ECA2751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5E9BA62-FE68-484C-BF30-D7FCF2697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44AFF4F-1FA1-4D53-8266-3735211C8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154C8D5-EA6D-47C9-AD6C-4FD5275E0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618</c:v>
                </c:pt>
                <c:pt idx="1">
                  <c:v>4.7263</c:v>
                </c:pt>
              </c:numCache>
            </c:numRef>
          </c:xVal>
          <c:yVal>
            <c:numRef>
              <c:f>Sheet1!$B$2:$B$3</c:f>
              <c:numCache>
                <c:formatCode>General</c:formatCode>
                <c:ptCount val="2"/>
                <c:pt idx="0">
                  <c:v>0.4526</c:v>
                </c:pt>
                <c:pt idx="1">
                  <c:v>0.3715</c:v>
                </c:pt>
              </c:numCache>
            </c:numRef>
          </c:yVal>
          <c:bubbleSize>
            <c:numRef>
              <c:f>Sheet1!$C$2:$C$3</c:f>
              <c:numCache>
                <c:formatCode>General</c:formatCode>
                <c:ptCount val="2"/>
                <c:pt idx="0">
                  <c:v>3676928.548999999</c:v>
                </c:pt>
                <c:pt idx="1">
                  <c:v>56493.2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1.649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728143651546"/>
        <c:crossBetween val="midCat"/>
      </c:valAx>
      <c:valAx>
        <c:axId val="1011451359"/>
        <c:scaling>
          <c:orientation val="minMax"/>
          <c:max val="0.9031199999999999"/>
          <c:min val="0.0572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0211857119661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B265A3F-99D3-443D-AFF0-7DB6491FA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1EE06CD-A5BB-4B21-90FA-EAD8F600A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5E0316D-C570-49C6-B1AF-F462EF3DB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2BFB5AD-B514-427B-A01B-BA7B6F170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896F005-CCD8-44BE-AD9C-A3FC67143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6BF1C2E-4AB3-4640-8B6A-5BEE9213B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B9CA401-A74C-4331-90C8-EC9ACAFE9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78073CD-D017-4F50-8984-16B915C89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83</c:v>
                </c:pt>
                <c:pt idx="1">
                  <c:v>1.6656</c:v>
                </c:pt>
                <c:pt idx="2">
                  <c:v>1.6525</c:v>
                </c:pt>
              </c:numCache>
            </c:numRef>
          </c:xVal>
          <c:yVal>
            <c:numRef>
              <c:f>Sheet1!$B$2:$B$4</c:f>
              <c:numCache>
                <c:formatCode>General</c:formatCode>
                <c:ptCount val="3"/>
                <c:pt idx="0">
                  <c:v>0.693</c:v>
                </c:pt>
                <c:pt idx="1">
                  <c:v>0.6926</c:v>
                </c:pt>
                <c:pt idx="2">
                  <c:v>0.6908</c:v>
                </c:pt>
              </c:numCache>
            </c:numRef>
          </c:yVal>
          <c:bubbleSize>
            <c:numRef>
              <c:f>Sheet1!$C$2:$C$4</c:f>
              <c:numCache>
                <c:formatCode>General</c:formatCode>
                <c:ptCount val="3"/>
                <c:pt idx="0">
                  <c:v>5755991.045600001</c:v>
                </c:pt>
                <c:pt idx="1">
                  <c:v>377232.1177</c:v>
                </c:pt>
                <c:pt idx="2">
                  <c:v>280587.68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0196"/>
          <c:min val="1.32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8802294342241"/>
        <c:crossBetween val="midCat"/>
      </c:valAx>
      <c:valAx>
        <c:axId val="1011451359"/>
        <c:scaling>
          <c:orientation val="minMax"/>
          <c:max val="1.1915999999999998"/>
          <c:min val="0.3126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7449988630825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B$2:$B$6</c:f>
              <c:numCache>
                <c:formatCode>General</c:formatCode>
                <c:ptCount val="5"/>
                <c:pt idx="0">
                  <c:v>6.8390522795495094</c:v>
                </c:pt>
                <c:pt idx="1">
                  <c:v>14.19104302177007</c:v>
                </c:pt>
                <c:pt idx="2">
                  <c:v>4.3638916493596405</c:v>
                </c:pt>
                <c:pt idx="3">
                  <c:v>8.1992</c:v>
                </c:pt>
                <c:pt idx="4">
                  <c:v>8.22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C$2:$C$6</c:f>
              <c:numCache>
                <c:formatCode>General</c:formatCode>
                <c:ptCount val="5"/>
                <c:pt idx="0">
                  <c:v>3.067757635848979</c:v>
                </c:pt>
                <c:pt idx="1">
                  <c:v>6.233489702076728</c:v>
                </c:pt>
                <c:pt idx="2">
                  <c:v>1.6381610938040845</c:v>
                </c:pt>
                <c:pt idx="3">
                  <c:v>2.1174999999999997</c:v>
                </c:pt>
                <c:pt idx="4">
                  <c:v>2.09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D$2:$D$6</c:f>
              <c:numCache>
                <c:formatCode>General</c:formatCode>
                <c:ptCount val="5"/>
                <c:pt idx="0">
                  <c:v>4.684638127418941</c:v>
                </c:pt>
                <c:pt idx="1">
                  <c:v>5.777374179174487</c:v>
                </c:pt>
                <c:pt idx="2">
                  <c:v>2.383673624091382</c:v>
                </c:pt>
                <c:pt idx="3">
                  <c:v>-4.032519063545149</c:v>
                </c:pt>
                <c:pt idx="4">
                  <c:v>-6.4715619047619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4.59</c:v>
                </c:pt>
                <c:pt idx="1">
                  <c:v>Av Price/Unit 26.20</c:v>
                </c:pt>
                <c:pt idx="2">
                  <c:v>Av Price/Unit 8.39</c:v>
                </c:pt>
                <c:pt idx="3">
                  <c:v>Av Price/Unit 6.22</c:v>
                </c:pt>
                <c:pt idx="4">
                  <c:v>Av Price/Unit 3.70</c:v>
                </c:pt>
              </c:strCache>
            </c:strRef>
          </c:cat>
          <c:val>
            <c:numRef>
              <c:f>Sheet1!$E$2:$E$6</c:f>
              <c:numCache>
                <c:formatCode>General</c:formatCode>
                <c:ptCount val="5"/>
                <c:pt idx="0">
                  <c:v>0.0</c:v>
                </c:pt>
                <c:pt idx="1">
                  <c:v>0.0</c:v>
                </c:pt>
                <c:pt idx="2">
                  <c:v>0.0</c:v>
                </c:pt>
                <c:pt idx="3">
                  <c:v>0.0</c:v>
                </c:pt>
                <c:pt idx="4">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B$2:$B$2</c:f>
              <c:numCache>
                <c:formatCode>General</c:formatCode>
                <c:ptCount val="1"/>
                <c:pt idx="0">
                  <c:v>6.3425399870382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C$2:$C$2</c:f>
              <c:numCache>
                <c:formatCode>General</c:formatCode>
                <c:ptCount val="1"/>
                <c:pt idx="0">
                  <c:v>2.5379539209332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D$2:$D$2</c:f>
              <c:numCache>
                <c:formatCode>General</c:formatCode>
                <c:ptCount val="1"/>
                <c:pt idx="0">
                  <c:v>4.70741049902786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3.59</c:v>
                </c:pt>
              </c:strCache>
            </c:strRef>
          </c:cat>
          <c:val>
            <c:numRef>
              <c:f>Sheet1!$E$2:$E$2</c:f>
              <c:numCache>
                <c:formatCode>General</c:formatCode>
                <c:ptCount val="1"/>
                <c:pt idx="0">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B$2:$B$4</c:f>
              <c:numCache>
                <c:formatCode>General</c:formatCode>
                <c:ptCount val="3"/>
                <c:pt idx="0">
                  <c:v>3.731685929427754</c:v>
                </c:pt>
                <c:pt idx="1">
                  <c:v>6.477164216836477</c:v>
                </c:pt>
                <c:pt idx="2">
                  <c:v>8.0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C$2:$C$4</c:f>
              <c:numCache>
                <c:formatCode>General</c:formatCode>
                <c:ptCount val="3"/>
                <c:pt idx="0">
                  <c:v>1.3682140705722463</c:v>
                </c:pt>
                <c:pt idx="1">
                  <c:v>2.6577357831635235</c:v>
                </c:pt>
                <c:pt idx="2">
                  <c:v>3.7053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D$2:$D$4</c:f>
              <c:numCache>
                <c:formatCode>General</c:formatCode>
                <c:ptCount val="3"/>
                <c:pt idx="0">
                  <c:v>3.848679181367342</c:v>
                </c:pt>
                <c:pt idx="1">
                  <c:v>6.255594305470023</c:v>
                </c:pt>
                <c:pt idx="2">
                  <c:v>7.7687027874787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8.95</c:v>
                </c:pt>
                <c:pt idx="1">
                  <c:v>Av Price/Unit 15.39</c:v>
                </c:pt>
                <c:pt idx="2">
                  <c:v>Av Price/Unit 19.48</c:v>
                </c:pt>
              </c:strCache>
            </c:strRef>
          </c:cat>
          <c:val>
            <c:numRef>
              <c:f>Sheet1!$E$2:$E$4</c:f>
              <c:numCache>
                <c:formatCode>General</c:formatCode>
                <c:ptCount val="3"/>
                <c:pt idx="0">
                  <c:v>0.0</c:v>
                </c:pt>
                <c:pt idx="1">
                  <c:v>0.0</c:v>
                </c:pt>
                <c:pt idx="2">
                  <c:v>0.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B5D5428-8077-4F7C-957D-F81A8012D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8828E14-FB78-411F-BD4E-418582805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A0EE5A-7B51-41FF-9D13-78E55EF35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94C4CB-201F-43FF-B895-90769EEBD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BC81140-DFDA-4E8D-890B-2DB09BD63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4972F6C-D6A1-43DC-9D6C-804E2AE0B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12BB154-4D40-47E3-BCBA-F26FC5BFE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ED3B721-D653-4673-BD78-FC6048CAF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102829E-954D-4DDF-8BA5-F49A88BC4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DD78342-F5E4-4059-8E57-2F593A1C0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A2028AE-8F90-4210-A8B0-64C547DDD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319816-DF03-4051-9552-3D27AEBA6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CCA754A-5D18-4B4F-B725-FED566358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A26391E-7D0D-43CA-830A-7BA95939C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DA5177F-C9E1-476A-B7E3-0FCA48AB8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C622050-3019-477E-B33C-B2F1CF5AA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0285047-0590-430B-AACE-4DA93F373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4BFAF97-8BD6-440D-8187-271207338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574F3A4-06D3-4BE2-AB1F-A7E7DFC5E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84E4286-BE4C-42F4-B9F6-5AFA2EE73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55B0328-8A65-4F6B-86FB-F385FE4A7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6E4E4BB-C046-4975-93C2-FD53B289E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2F9A8F0-FB6B-46DD-A001-3944F4970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447A5B1-A230-4B8F-9F6D-42CB507FB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E52D30B-D778-4908-B86C-2AC9BA671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0651455-BFAA-4EF8-A014-B729E46E1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1DCD56B-149D-4B23-82A4-2817C6037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71E8CA7-96B0-4042-9224-178208079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B3184CC-24CE-4419-9F4C-B7EFB15C9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CD9B642-A6DB-499A-B7F0-500A71B85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BD7744C-85BB-484D-97E2-417E295DB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532146F-9141-4D48-9B63-A83AABC42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D5E3609-7C4A-4172-9834-034DBCF04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6C9B5F2-80F1-4F63-93E8-64A60D1EE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667A045-7AB9-4F0C-A694-AE84860AB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2E4FE6D-EFBF-4308-BF62-B793BCCCC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0430C73-1318-47D5-A534-07BE8806F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7198800-6CC3-4B78-B3FE-6C9A226CB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5A7BA17-1C98-4DF4-87F7-211F7BB93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90F5BD5-4B36-4C63-9371-EB991737F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BC1F44B-BC21-41A7-A97A-952BB6271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8A955FF-076B-487A-9411-03D622B43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F12B6E0-B290-445F-8515-928AEA421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57E2EFE-9E14-4680-A0B2-6EE77C501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E8DEDDC-F3E0-40AA-A258-8009CE0DB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A38632B-BD99-47B1-A2A6-975B10B92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C669366-ED70-44D0-B4F8-EC66CC4D9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1099A3F-4AFA-469A-BCFA-CF66CE924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0B7A829-024C-407E-B28A-444D51FC9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4723088-136C-4756-89B5-CB952A741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9B567C6-3248-415F-8BC3-FDE20447A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BE9FE7D-6790-489F-B0C8-348191432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413CC08-D465-4E24-95B0-3D2F2C0E9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3406529-7F39-4E30-B065-03FE94430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6E5B4E7-C8E4-4DC1-98C9-59F69D03B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D21BCCF-9163-4B12-AF61-4810C608E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5E2F65B-3D39-40E3-8870-3F7BBB988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098</c:v>
                </c:pt>
                <c:pt idx="1">
                  <c:v>0.2917</c:v>
                </c:pt>
                <c:pt idx="2">
                  <c:v>0.368</c:v>
                </c:pt>
                <c:pt idx="3">
                  <c:v>0.3711</c:v>
                </c:pt>
                <c:pt idx="4">
                  <c:v>0.3539</c:v>
                </c:pt>
                <c:pt idx="5">
                  <c:v>0.2194</c:v>
                </c:pt>
                <c:pt idx="6">
                  <c:v>0.3752</c:v>
                </c:pt>
                <c:pt idx="7">
                  <c:v>0.3585</c:v>
                </c:pt>
                <c:pt idx="8">
                  <c:v>0.327</c:v>
                </c:pt>
                <c:pt idx="9">
                  <c:v>0.2027</c:v>
                </c:pt>
                <c:pt idx="10">
                  <c:v>0.301</c:v>
                </c:pt>
                <c:pt idx="11">
                  <c:v>0.3579</c:v>
                </c:pt>
                <c:pt idx="12">
                  <c:v>0.3207</c:v>
                </c:pt>
                <c:pt idx="13">
                  <c:v>0.3568</c:v>
                </c:pt>
                <c:pt idx="14">
                  <c:v>0.3918</c:v>
                </c:pt>
              </c:numCache>
            </c:numRef>
          </c:xVal>
          <c:yVal>
            <c:numRef>
              <c:f>Sheet1!$B$2:$B$16</c:f>
              <c:numCache>
                <c:formatCode>General</c:formatCode>
                <c:ptCount val="15"/>
                <c:pt idx="0">
                  <c:v>0.3363</c:v>
                </c:pt>
                <c:pt idx="1">
                  <c:v>0.2544</c:v>
                </c:pt>
                <c:pt idx="2">
                  <c:v>0.5237</c:v>
                </c:pt>
                <c:pt idx="3">
                  <c:v>0.372</c:v>
                </c:pt>
                <c:pt idx="4">
                  <c:v>0.4895</c:v>
                </c:pt>
                <c:pt idx="5">
                  <c:v>0.695</c:v>
                </c:pt>
                <c:pt idx="6">
                  <c:v>0.6218</c:v>
                </c:pt>
                <c:pt idx="7">
                  <c:v>0.6039</c:v>
                </c:pt>
                <c:pt idx="8">
                  <c:v>0.6295</c:v>
                </c:pt>
                <c:pt idx="9">
                  <c:v>0.7269</c:v>
                </c:pt>
                <c:pt idx="10">
                  <c:v>0.6515</c:v>
                </c:pt>
                <c:pt idx="11">
                  <c:v>0.7677</c:v>
                </c:pt>
                <c:pt idx="12">
                  <c:v>0.6906</c:v>
                </c:pt>
                <c:pt idx="13">
                  <c:v>0.6351</c:v>
                </c:pt>
                <c:pt idx="14">
                  <c:v>0.5305</c:v>
                </c:pt>
              </c:numCache>
            </c:numRef>
          </c:yVal>
          <c:bubbleSize>
            <c:numRef>
              <c:f>Sheet1!$C$2:$C$16</c:f>
              <c:numCache>
                <c:formatCode>General</c:formatCode>
                <c:ptCount val="15"/>
                <c:pt idx="0">
                  <c:v>874.0</c:v>
                </c:pt>
                <c:pt idx="1">
                  <c:v>1094.75</c:v>
                </c:pt>
                <c:pt idx="2">
                  <c:v>3373.205882352941</c:v>
                </c:pt>
                <c:pt idx="3">
                  <c:v>472.6</c:v>
                </c:pt>
                <c:pt idx="4">
                  <c:v>574.65625</c:v>
                </c:pt>
                <c:pt idx="5">
                  <c:v>5275.419354838709</c:v>
                </c:pt>
                <c:pt idx="6">
                  <c:v>3032.8736842105263</c:v>
                </c:pt>
                <c:pt idx="7">
                  <c:v>999.2</c:v>
                </c:pt>
                <c:pt idx="8">
                  <c:v>506.07142857142856</c:v>
                </c:pt>
                <c:pt idx="9">
                  <c:v>1055.75</c:v>
                </c:pt>
                <c:pt idx="10">
                  <c:v>3945.977011494253</c:v>
                </c:pt>
                <c:pt idx="11">
                  <c:v>4372.0</c:v>
                </c:pt>
                <c:pt idx="12">
                  <c:v>4560.025316455696</c:v>
                </c:pt>
                <c:pt idx="13">
                  <c:v>413.27272727272725</c:v>
                </c:pt>
                <c:pt idx="14">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E8A20CC-EE6E-435F-B3AA-242B03A4E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576EDBB-E36B-45EB-A4CB-749797205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CFD9847-86DC-4FB1-B5D2-1045AD9FE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16EE47-25CB-4FCA-B323-119AEEB37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B02488D-B8BE-4AAD-8DB3-47316DE89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A8F9360-150F-4ACD-BE3C-702E6CDC6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1BF2133-A5EA-4CBE-83D0-01C361774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A10C58-47D9-463D-AA7E-6A658194A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2A776CE-4E5F-4AE7-8ECE-87A035845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AFD92A7-0CA4-4CA8-8D86-C973772B1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9715545-C955-4792-A661-BEB4FC9DA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E1ECE79-E1B2-4AC5-94D5-78FC5E42B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C94331B-DAC8-43BA-9FFC-3FF6A84A0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1CCC554-A4D6-4EA8-AA00-C40F6B9C7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C449774-06F7-4241-9461-F1B505E69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8BDE1BB-E10C-4D52-8F74-B7E60CE96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F020A5A-9277-4EC6-A864-3A5B07499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49FAB2B-D426-446D-BFA5-F37291FA3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EEC053A-1923-4CAF-AEAB-B67AC2AC9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C88FC97-9EC3-4C5C-BBF5-1468469AC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4825091-6908-4149-9F54-B03D48570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CEFD3A6-07A1-4DB8-A6F9-457B8D5FC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AA7BC21-7C98-488F-A622-9473CDB36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382ABD2-3701-413A-A7C1-E2653A957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B020A65-4E29-4150-AF53-820782A1C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6B4A0B9-B575-4345-BAE2-C08B66CC5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C3EA3A1-78CE-4BC4-A300-3C9F33A61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9077DFB-2E62-408D-9C81-405B93CB1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DDF2500-9DFB-438C-96BB-BF9F768F0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517020E-6871-439E-AF02-3CEABDE54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DCD36A6-8A55-4B80-9174-969532B42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D36C106-40D9-4352-A267-91C606174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60C9AE9-39C0-43F9-B5FA-F1F9C6913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35DA6F3-B702-48CD-A1A8-29961A473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D7286C3-E830-4F99-93AF-6391FEDF6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2A8E596-36B7-4E73-976C-16A8EEF84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4E98F0D-CC26-4DC6-8798-F500A6BA8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7F2A458-648B-4E4B-AF29-8883EFAFF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A4BA6A3-4DA5-4B54-A5FA-7904B4947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EC47EDD-91BA-4D4A-9D7E-B51D609EB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C9D7C3E-A0CB-4F78-AF5E-6564C20BC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14DBEEB-292F-48BB-BCA8-1326F4AEA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818296A-B193-4C04-90DB-A3E98194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AAB6A63-A34A-4C23-B19C-602007FBE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D1C41E1-7EA2-48C2-B542-F82C38FCD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9DAA196-523B-46FB-A73C-05532AACF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3E3CB38-C259-4279-9A1C-7657307B0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93CF058-5498-4D23-8AC3-0E822266F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B01524E-2907-4752-85BB-ED40B948B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5A13D88-AC11-4141-B91F-3FBD8C1F6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7B9FAA6-C80F-469E-8475-BD00705E6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BA7E10D-E7C7-40F9-8102-B56A15B0E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A68E777-9588-40D0-8AD6-45913EA9A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AFE0424-A2E9-4FCF-B919-45CD428A6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85F741D-FBC9-49D8-B53B-B295C1B93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B06672E-FC33-43A9-B1C1-1323E7AF8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DFD26D3-DC4B-4DA7-B67C-DF4D37318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87</c:v>
                </c:pt>
                <c:pt idx="1">
                  <c:v>0.4875</c:v>
                </c:pt>
                <c:pt idx="2">
                  <c:v>0.4532</c:v>
                </c:pt>
                <c:pt idx="3">
                  <c:v>0.3974</c:v>
                </c:pt>
                <c:pt idx="4">
                  <c:v>0.5509</c:v>
                </c:pt>
                <c:pt idx="5">
                  <c:v>0.4479</c:v>
                </c:pt>
                <c:pt idx="6">
                  <c:v>0.3088</c:v>
                </c:pt>
                <c:pt idx="7">
                  <c:v>0.4033</c:v>
                </c:pt>
                <c:pt idx="8">
                  <c:v>0.396</c:v>
                </c:pt>
                <c:pt idx="9">
                  <c:v>0.4292</c:v>
                </c:pt>
              </c:numCache>
            </c:numRef>
          </c:xVal>
          <c:yVal>
            <c:numRef>
              <c:f>Sheet1!$B$2:$B$11</c:f>
              <c:numCache>
                <c:formatCode>General</c:formatCode>
                <c:ptCount val="10"/>
                <c:pt idx="0">
                  <c:v>0.4911</c:v>
                </c:pt>
                <c:pt idx="1">
                  <c:v>0.4195</c:v>
                </c:pt>
                <c:pt idx="2">
                  <c:v>0.4934</c:v>
                </c:pt>
                <c:pt idx="3">
                  <c:v>0.6837</c:v>
                </c:pt>
                <c:pt idx="4">
                  <c:v>0.48</c:v>
                </c:pt>
                <c:pt idx="5">
                  <c:v>0.5166</c:v>
                </c:pt>
                <c:pt idx="6">
                  <c:v>0.0104</c:v>
                </c:pt>
                <c:pt idx="7">
                  <c:v>-0.0032</c:v>
                </c:pt>
                <c:pt idx="8">
                  <c:v>0.7091</c:v>
                </c:pt>
                <c:pt idx="9">
                  <c:v>0.7317</c:v>
                </c:pt>
              </c:numCache>
            </c:numRef>
          </c:yVal>
          <c:bubbleSize>
            <c:numRef>
              <c:f>Sheet1!$C$2:$C$11</c:f>
              <c:numCache>
                <c:formatCode>General</c:formatCode>
                <c:ptCount val="10"/>
                <c:pt idx="0">
                  <c:v>6191.265306122449</c:v>
                </c:pt>
                <c:pt idx="1">
                  <c:v>2192.542857142857</c:v>
                </c:pt>
                <c:pt idx="2">
                  <c:v>2490.9578947368423</c:v>
                </c:pt>
                <c:pt idx="3">
                  <c:v>745.0597014925373</c:v>
                </c:pt>
                <c:pt idx="4">
                  <c:v>2380.074468085106</c:v>
                </c:pt>
                <c:pt idx="5">
                  <c:v>2854.177777777778</c:v>
                </c:pt>
                <c:pt idx="6">
                  <c:v>1268.8556701030927</c:v>
                </c:pt>
                <c:pt idx="7">
                  <c:v>3147.919191919192</c:v>
                </c:pt>
                <c:pt idx="8">
                  <c:v>2624.685185185185</c:v>
                </c:pt>
                <c:pt idx="9">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1FA3229-A29A-4E6F-A9B6-5FB714FB0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0F471E3-9FA9-40DF-A71E-2C41BB9F6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FA938A-15C6-46C2-9D98-3D9922099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2120DA-A6D6-44ED-8139-B2CE89EB1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3774546-1E06-4393-99F4-B9B589192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3BFA8A4-47F9-48A4-8202-38FB6C147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C5995D2-56ED-49A0-907A-2DBEE8ADF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910B8E1-7EB3-4760-9755-99C1DC177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A3725D3-133E-4100-A130-1E2C3AA11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C7F07FF-135E-4A52-95A9-F5DA01645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D19C2D3-6297-458E-9079-038FCEE06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CB70F55-6785-4D54-AA85-9D6A08A36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E9B0353-E9F9-4538-9A59-B04C2456C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91CD01-0923-4187-BF46-144EDDB34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24974F5-CCF1-4CF8-8A81-DEB04F192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5626F46-0686-4BE3-BB08-472A401AB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B3154CA-485A-49DE-804A-F8C1B2722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B99F367-69EB-4E2E-BC87-5986D8A06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C651ADA-14A4-4470-9A05-81538FC25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968D03C-984B-4F12-ADCD-EE42F3BA9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3366C91-38F2-4CD6-A5D5-FDC78145E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D37B3FF-716F-48B6-8C54-1F438E351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124812F-DD1F-4B3A-8C47-2D4B49F32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B63A63F-BD01-498A-B8F8-9FB1E5B39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C59A3C0-DE3D-4178-8F7B-39DB5EF4B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1C3C66A-A877-4CF3-8F62-0B1FD4EDE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2C11673-F975-4AA6-8408-1A848A0C8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0AF401F-A758-4148-9567-E75D5D4F6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7F00672-4287-4025-A56F-7273A28AB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D90B4AF-326B-45A0-B2AB-D25E6868E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85828FE-D1BB-46FD-9935-3E10DE95D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0C7F86A-DE62-4F7B-A214-6FE38CCCD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2EEE1CC-06DF-4B77-91EE-61CEB32B2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77DF2F0-50AA-43C3-A1E8-D23D450CE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81D5C74-F3A5-4640-BC1E-B792A863E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94FD108-EB68-43B8-90EA-6B095D549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CFB1EAF-845E-4CD3-8EFB-3AB91A2CC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1C854EA-8C3B-4EF2-A44E-4ECA00E45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C5B75FF-0FFE-48A7-8F53-9E0F6BC85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FFEE7B6-ACCF-46E5-8CC3-C8F930901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282F4C5-3437-4BC4-9332-B18DAA536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2BD0F6B-9389-43EA-94A9-4B44957A2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CD1A2CC-975A-41CC-BAF9-58F4F04AE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86CDB41-299D-4D37-B767-EE491C30B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E7F38DF-1E3E-4D6C-98ED-70425AAF1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D38FA19-718A-4196-9E33-70E8032EC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0841266-6CC6-4F09-B5F9-309261515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559CDB5-9E97-4497-8068-7D21384BA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E343D52-FC38-41C9-AE27-867449A77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F2FD7B4-8F41-4820-AC73-8F744693A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021450C-37A3-475F-8C17-4DD832808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A7F222F-0467-4365-8516-9BEC0C1D2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FBFED42-E247-4244-9559-C1F8EC5A9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4ABD407-A8FC-4E28-BFA9-A5D678DF1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3C7FA51-9935-40A9-AF4F-E76F9F026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138AA54-0D33-4499-9D1E-CDE77F550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26047DC-4E7C-41C1-8E83-19A7C552E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6583</c:v>
                </c:pt>
                <c:pt idx="1">
                  <c:v>0.2604</c:v>
                </c:pt>
                <c:pt idx="2">
                  <c:v>0.2228</c:v>
                </c:pt>
                <c:pt idx="3">
                  <c:v>-1.683</c:v>
                </c:pt>
                <c:pt idx="4">
                  <c:v>0.3605</c:v>
                </c:pt>
                <c:pt idx="5">
                  <c:v>0.3666</c:v>
                </c:pt>
                <c:pt idx="6">
                  <c:v>0.3455</c:v>
                </c:pt>
                <c:pt idx="7">
                  <c:v>0.2205</c:v>
                </c:pt>
                <c:pt idx="8">
                  <c:v>0.3698</c:v>
                </c:pt>
                <c:pt idx="9">
                  <c:v>0.3679</c:v>
                </c:pt>
                <c:pt idx="10">
                  <c:v>0.3464</c:v>
                </c:pt>
                <c:pt idx="11">
                  <c:v>0.3185</c:v>
                </c:pt>
                <c:pt idx="12">
                  <c:v>0.2843</c:v>
                </c:pt>
                <c:pt idx="13">
                  <c:v>0.2945</c:v>
                </c:pt>
                <c:pt idx="14">
                  <c:v>0.351</c:v>
                </c:pt>
                <c:pt idx="15">
                  <c:v>-0.6417</c:v>
                </c:pt>
                <c:pt idx="16">
                  <c:v>0.3211</c:v>
                </c:pt>
                <c:pt idx="17">
                  <c:v>0.3489</c:v>
                </c:pt>
                <c:pt idx="18">
                  <c:v>0.3918</c:v>
                </c:pt>
              </c:numCache>
            </c:numRef>
          </c:xVal>
          <c:yVal>
            <c:numRef>
              <c:f>Sheet1!$B$2:$B$20</c:f>
              <c:numCache>
                <c:formatCode>General</c:formatCode>
                <c:ptCount val="19"/>
                <c:pt idx="0">
                  <c:v>0.6078</c:v>
                </c:pt>
                <c:pt idx="1">
                  <c:v>0.3363</c:v>
                </c:pt>
                <c:pt idx="2">
                  <c:v>0.2544</c:v>
                </c:pt>
                <c:pt idx="3">
                  <c:v>0.797</c:v>
                </c:pt>
                <c:pt idx="4">
                  <c:v>0.5237</c:v>
                </c:pt>
                <c:pt idx="5">
                  <c:v>0.3715</c:v>
                </c:pt>
                <c:pt idx="6">
                  <c:v>0.4895</c:v>
                </c:pt>
                <c:pt idx="7">
                  <c:v>0.6948</c:v>
                </c:pt>
                <c:pt idx="8">
                  <c:v>0.6217</c:v>
                </c:pt>
                <c:pt idx="9">
                  <c:v>0.6037</c:v>
                </c:pt>
                <c:pt idx="10">
                  <c:v>0.7142</c:v>
                </c:pt>
                <c:pt idx="11">
                  <c:v>0.6295</c:v>
                </c:pt>
                <c:pt idx="12">
                  <c:v>0.7271</c:v>
                </c:pt>
                <c:pt idx="13">
                  <c:v>0.6514</c:v>
                </c:pt>
                <c:pt idx="14">
                  <c:v>0.7677</c:v>
                </c:pt>
                <c:pt idx="15">
                  <c:v>0.7947</c:v>
                </c:pt>
                <c:pt idx="16">
                  <c:v>0.6903</c:v>
                </c:pt>
                <c:pt idx="17">
                  <c:v>0.6351</c:v>
                </c:pt>
                <c:pt idx="18">
                  <c:v>0.5305</c:v>
                </c:pt>
              </c:numCache>
            </c:numRef>
          </c:yVal>
          <c:bubbleSize>
            <c:numRef>
              <c:f>Sheet1!$C$2:$C$20</c:f>
              <c:numCache>
                <c:formatCode>General</c:formatCode>
                <c:ptCount val="19"/>
                <c:pt idx="0">
                  <c:v>1414.0</c:v>
                </c:pt>
                <c:pt idx="1">
                  <c:v>12997.022988505747</c:v>
                </c:pt>
                <c:pt idx="2">
                  <c:v>14923.912087912087</c:v>
                </c:pt>
                <c:pt idx="3">
                  <c:v>789.0</c:v>
                </c:pt>
                <c:pt idx="4">
                  <c:v>36036.28767123288</c:v>
                </c:pt>
                <c:pt idx="5">
                  <c:v>6680.846153846154</c:v>
                </c:pt>
                <c:pt idx="6">
                  <c:v>6147.757575757576</c:v>
                </c:pt>
                <c:pt idx="7">
                  <c:v>66122.91836734694</c:v>
                </c:pt>
                <c:pt idx="8">
                  <c:v>36195.333333333336</c:v>
                </c:pt>
                <c:pt idx="9">
                  <c:v>19149.166666666668</c:v>
                </c:pt>
                <c:pt idx="10">
                  <c:v>5990.285714285714</c:v>
                </c:pt>
                <c:pt idx="11">
                  <c:v>5750.290697674419</c:v>
                </c:pt>
                <c:pt idx="12">
                  <c:v>19381.2</c:v>
                </c:pt>
                <c:pt idx="13">
                  <c:v>42870.58620689655</c:v>
                </c:pt>
                <c:pt idx="14">
                  <c:v>44077.36842105263</c:v>
                </c:pt>
                <c:pt idx="15">
                  <c:v>4359.0</c:v>
                </c:pt>
                <c:pt idx="16">
                  <c:v>57541.3875</c:v>
                </c:pt>
                <c:pt idx="17">
                  <c:v>5099.131868131868</c:v>
                </c:pt>
                <c:pt idx="18">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7BF8843-BD38-4F61-8C06-200BDDD04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9225F39-6083-4044-AD01-ABCC81DC4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8630A0-EF21-4549-A786-4549CB626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BF4BD85-4D02-409A-B0B0-F2EC59AFD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4DFD9E9-011B-48AD-BC0A-7BF85003B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16F54E9-7F1E-4D0C-BE4E-1A2775B9B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3A2F30C-F36E-4464-AA94-28BED24C3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35A93EE-250D-412D-B13F-A66A3C592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7669784-4F01-4BF2-A470-B3C25C913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7722EEC-0EDF-493D-8299-ADB9B3BDC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A3B3449-CA9C-43B6-9BC9-9548775FF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F00CB2-B62E-45A5-8B29-8B1BC2AD9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B17BBD6-7359-4731-B410-C08F23374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DBBCB4-9118-4894-902A-258DE8659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40AC00C-EDE3-4E38-B6F3-00A5424B8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EC5C7F3-D142-4D53-AFD7-3E006C65B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3651A42-5EF3-42C4-AA5A-65A0BA2AF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2FDDFC7-8A71-40D9-AB67-EC8C5093C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ADA2DC7-726D-410B-9D1E-2423A13EA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672994F-4E82-4DD5-809E-527F40C8C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209F158-0CD9-4CF7-AB13-97CCAD51F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C9227B8-2391-4567-8AF3-F44E88C1F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11D5A9F-4AC5-4FC3-9CCA-CDDB5215D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20B6A72-3700-42A3-9411-6351746E1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800F07E-0804-443C-AACD-39EEF877E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46C9B1A-E654-4D97-BC31-26C56162E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E431219-8801-482F-B4BB-5C51EC460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DE74CE1-68FF-442A-8092-77AF588C6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0B311AA-8644-41EF-B688-E39EC55D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344EFF5-448C-4F38-BBAF-AC7067610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6BBE2EB-A1CC-4C6B-8095-7E759E43B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FAE765A-D4E7-4529-93E1-418759441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D6D3B24-BF2C-46A0-90A6-2992F7C96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00562B4-1CAD-49E8-A2B5-356050BBB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646156A-7856-48F2-B300-CED38E25A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D3AFCD0-D533-4292-B613-6BF203470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1B8B36C-D313-4B61-9E49-200592F31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ED90526-D87F-400C-B392-A74BAF4C0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2460F90-5C18-4740-8027-D3AEBC0D2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082D62C-09BC-4412-A847-2AA6052FA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FF7EBF9-5A7A-479C-B5B1-A05509AD3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15AF445-86FE-4CAE-B52F-531814C38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0ADC848-1B30-433E-ABBB-AA05174FC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0070BC3-EA53-4C38-92F8-1D768AB85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1D17EC9-3801-40AC-818A-3DD91A2D0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FE785FD-DFE4-4A74-A0F5-F4C5A3C17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750A306-949D-411F-A335-C9E9ADDEE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C1ABA40-C7E5-4263-852C-CC0B05BBC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7BDFDC9-E301-4276-8042-7AC2C28AC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F633AEC-ACCA-4A78-ADF4-7136A9F0F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86346A2-9CEC-4ACA-8072-C71CC8AC5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5917F06-4AEC-4FBB-A675-52AE527A3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CC0CD87-A993-4951-92C4-5582BAE76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544D561-F5E1-4DAC-9AFF-DFBE9ADBB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8BF666A-0B53-49CC-8C42-C2924E707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46D64D4-C4BF-47DD-B749-28022D2B3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D0D4AD6-B4A4-4FCA-8C57-E10BA9B88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33</c:v>
                </c:pt>
                <c:pt idx="1">
                  <c:v>0.4884</c:v>
                </c:pt>
                <c:pt idx="2">
                  <c:v>0.4467</c:v>
                </c:pt>
                <c:pt idx="3">
                  <c:v>0.3987</c:v>
                </c:pt>
                <c:pt idx="4">
                  <c:v>0.5471</c:v>
                </c:pt>
                <c:pt idx="5">
                  <c:v>0.4478</c:v>
                </c:pt>
                <c:pt idx="6">
                  <c:v>0.2977</c:v>
                </c:pt>
                <c:pt idx="7">
                  <c:v>0.4032</c:v>
                </c:pt>
                <c:pt idx="8">
                  <c:v>0.4065</c:v>
                </c:pt>
                <c:pt idx="9">
                  <c:v>0.4301</c:v>
                </c:pt>
              </c:numCache>
            </c:numRef>
          </c:xVal>
          <c:yVal>
            <c:numRef>
              <c:f>Sheet1!$B$2:$B$11</c:f>
              <c:numCache>
                <c:formatCode>General</c:formatCode>
                <c:ptCount val="10"/>
                <c:pt idx="0">
                  <c:v>0.4911</c:v>
                </c:pt>
                <c:pt idx="1">
                  <c:v>0.4198</c:v>
                </c:pt>
                <c:pt idx="2">
                  <c:v>0.4934</c:v>
                </c:pt>
                <c:pt idx="3">
                  <c:v>0.6837</c:v>
                </c:pt>
                <c:pt idx="4">
                  <c:v>0.4798</c:v>
                </c:pt>
                <c:pt idx="5">
                  <c:v>0.5166</c:v>
                </c:pt>
                <c:pt idx="6">
                  <c:v>0.0104</c:v>
                </c:pt>
                <c:pt idx="7">
                  <c:v>-0.0026</c:v>
                </c:pt>
                <c:pt idx="8">
                  <c:v>0.7091</c:v>
                </c:pt>
                <c:pt idx="9">
                  <c:v>0.7317</c:v>
                </c:pt>
              </c:numCache>
            </c:numRef>
          </c:yVal>
          <c:bubbleSize>
            <c:numRef>
              <c:f>Sheet1!$C$2:$C$11</c:f>
              <c:numCache>
                <c:formatCode>General</c:formatCode>
                <c:ptCount val="10"/>
                <c:pt idx="0">
                  <c:v>76941.12121212122</c:v>
                </c:pt>
                <c:pt idx="1">
                  <c:v>26568.493506493505</c:v>
                </c:pt>
                <c:pt idx="2">
                  <c:v>29486.863157894735</c:v>
                </c:pt>
                <c:pt idx="3">
                  <c:v>8564.56338028169</c:v>
                </c:pt>
                <c:pt idx="4">
                  <c:v>32042.24742268041</c:v>
                </c:pt>
                <c:pt idx="5">
                  <c:v>33695.24731182796</c:v>
                </c:pt>
                <c:pt idx="6">
                  <c:v>14956.69387755102</c:v>
                </c:pt>
                <c:pt idx="7">
                  <c:v>32799.73737373737</c:v>
                </c:pt>
                <c:pt idx="8">
                  <c:v>32905.13333333333</c:v>
                </c:pt>
                <c:pt idx="9">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5A4BCDA-A7DF-497D-BEF9-9030032F4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2A2D5B4-38DC-4EF9-95CD-4F2CBE7DD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D39D5FC-4AEE-4FD4-A268-1AB945E6A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E3CDE85-A623-48CA-88C9-DBA17BC2B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FD914E5-DD3A-4DE9-A879-BE6A5DAE9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7DC76AA-9A3F-4065-9E30-0399996B4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00527F6-2209-42ED-A4D1-688503FE7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34167CD-45C3-443A-AC37-89F65C1B8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07D73E8-E001-48FA-BC81-7F72555C4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85F32B2-9B58-4626-9CF3-B7B4A419D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F45439D-8CBE-4244-A7A0-D8D7B1678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AB2ACBF-FC78-455E-8F3A-582933AEC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DC9D991-5B8C-40DB-A6A7-AF0A5D864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F05B124-6AA3-4155-B2E4-D3561B62A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8F7EF1C-C588-4D24-940F-645839DA6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42CC53B-622B-47A9-B304-71CA296EB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68641A1-52E6-4F05-9172-84E5980EC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A563223-1DB7-4E79-B067-15828B3A0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AA89B69-7B85-459F-89EF-A4B9FE972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B8CE6DC-9D2E-48C4-A4F3-7B1D36E82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B356BEF-3832-4F98-B497-66626D50C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9E3F994-595F-4A57-8846-5CAC3093A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9FE9FD5-35C1-47E8-86AB-44D722E29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8F0D068-884D-4134-8F29-B3BF868D8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C579568-93A4-41DA-932F-FE7500BA2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24A017B-59A8-453E-B664-464F568D6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978E9EF-698E-4C61-B016-53CBFC86A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FDAA9A5-707E-4188-A9AC-080943AE5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1A2B4E6-6CB6-43C4-B9A5-9BCCD1A7C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40BA9F7-EDF0-4F46-A516-6A3D5C2CB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D4C1346-5049-4040-81EA-2BB598F9A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DEFF019-CA17-4DAD-8CE0-7A1B7745B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8634F8E-9D40-4AC6-BA61-A8E3717D1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2B18CB2-243B-4AD6-B324-43F761713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D368D36-440D-4E4D-9D76-F6720F5E4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0EC5B20-6314-4D85-B2BC-4D79443F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5C673CF-C7B2-4552-8A30-39B9851DD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4FEFA93-7FA8-469B-A7BF-8547E488B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D300807-E9E1-4E00-93FD-E8B4B268B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B5AEB25-6D16-4E52-8A3D-F54DD8C49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9B35B87-7CEA-4ACF-88C2-DAA5115DB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69C8D18-C06F-4EEC-8612-71639B90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0D9112C-C338-4B1B-94FC-147A7D683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02926F6-BA9C-4987-BD68-2FF2452E9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327A9A8-BC26-4696-A559-2147E6C40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E8CBF44-8F70-40A3-9633-5ED56FC31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ADC645A-BCAF-4A46-BB31-80938A390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31915A6-2920-48EE-9CB6-06F30EE15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C426E8E-42E9-4690-9D4B-1FF5A342D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996F99E-D0DA-45B1-91D2-0E039E572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5505FC2-C298-47DC-BC4E-5428B400A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9D81D86-AA0B-4C65-B1FB-FFAEBFCE8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C768D86-25A4-4CED-B5B2-203A10887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FD55321-867A-49DB-A6CE-1F9E2F6FE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CD49F1E-8FCA-43E4-8E6C-E60223E4E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8DF2274-AFB7-45FC-BB3D-4F9CB81A2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75565A0-7D5B-442C-A6A4-0D024E1D1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6831</c:v>
                </c:pt>
                <c:pt idx="1">
                  <c:v>0.2606</c:v>
                </c:pt>
                <c:pt idx="2">
                  <c:v>0.223</c:v>
                </c:pt>
                <c:pt idx="3">
                  <c:v>-1.6975</c:v>
                </c:pt>
                <c:pt idx="4">
                  <c:v>0.361</c:v>
                </c:pt>
                <c:pt idx="5">
                  <c:v>0.3668</c:v>
                </c:pt>
                <c:pt idx="6">
                  <c:v>0.3461</c:v>
                </c:pt>
                <c:pt idx="7">
                  <c:v>0.2203</c:v>
                </c:pt>
                <c:pt idx="8">
                  <c:v>0.3702</c:v>
                </c:pt>
                <c:pt idx="9">
                  <c:v>0.3675</c:v>
                </c:pt>
                <c:pt idx="10">
                  <c:v>0.3456</c:v>
                </c:pt>
                <c:pt idx="11">
                  <c:v>0.3194</c:v>
                </c:pt>
                <c:pt idx="12">
                  <c:v>0.2809</c:v>
                </c:pt>
                <c:pt idx="13">
                  <c:v>0.2951</c:v>
                </c:pt>
                <c:pt idx="14">
                  <c:v>0.3517</c:v>
                </c:pt>
                <c:pt idx="15">
                  <c:v>-0.6721</c:v>
                </c:pt>
                <c:pt idx="16">
                  <c:v>0.321</c:v>
                </c:pt>
                <c:pt idx="17">
                  <c:v>0.3496</c:v>
                </c:pt>
                <c:pt idx="18">
                  <c:v>0.3918</c:v>
                </c:pt>
              </c:numCache>
            </c:numRef>
          </c:xVal>
          <c:yVal>
            <c:numRef>
              <c:f>Sheet1!$B$2:$B$20</c:f>
              <c:numCache>
                <c:formatCode>General</c:formatCode>
                <c:ptCount val="19"/>
                <c:pt idx="0">
                  <c:v>0.6078</c:v>
                </c:pt>
                <c:pt idx="1">
                  <c:v>0.3363</c:v>
                </c:pt>
                <c:pt idx="2">
                  <c:v>0.2544</c:v>
                </c:pt>
                <c:pt idx="3">
                  <c:v>0.797</c:v>
                </c:pt>
                <c:pt idx="4">
                  <c:v>0.5238</c:v>
                </c:pt>
                <c:pt idx="5">
                  <c:v>0.3715</c:v>
                </c:pt>
                <c:pt idx="6">
                  <c:v>0.4895</c:v>
                </c:pt>
                <c:pt idx="7">
                  <c:v>0.6948</c:v>
                </c:pt>
                <c:pt idx="8">
                  <c:v>0.6218</c:v>
                </c:pt>
                <c:pt idx="9">
                  <c:v>0.6037</c:v>
                </c:pt>
                <c:pt idx="10">
                  <c:v>0.7136</c:v>
                </c:pt>
                <c:pt idx="11">
                  <c:v>0.6295</c:v>
                </c:pt>
                <c:pt idx="12">
                  <c:v>0.7271</c:v>
                </c:pt>
                <c:pt idx="13">
                  <c:v>0.6515</c:v>
                </c:pt>
                <c:pt idx="14">
                  <c:v>0.7677</c:v>
                </c:pt>
                <c:pt idx="15">
                  <c:v>0.7947</c:v>
                </c:pt>
                <c:pt idx="16">
                  <c:v>0.6903</c:v>
                </c:pt>
                <c:pt idx="17">
                  <c:v>0.6351</c:v>
                </c:pt>
                <c:pt idx="18">
                  <c:v>0.5305</c:v>
                </c:pt>
              </c:numCache>
            </c:numRef>
          </c:yVal>
          <c:bubbleSize>
            <c:numRef>
              <c:f>Sheet1!$C$2:$C$20</c:f>
              <c:numCache>
                <c:formatCode>General</c:formatCode>
                <c:ptCount val="19"/>
                <c:pt idx="0">
                  <c:v>1754.0</c:v>
                </c:pt>
                <c:pt idx="1">
                  <c:v>14944.044795783924</c:v>
                </c:pt>
                <c:pt idx="2">
                  <c:v>17159.559193954658</c:v>
                </c:pt>
                <c:pt idx="3">
                  <c:v>897.7777777777778</c:v>
                </c:pt>
                <c:pt idx="4">
                  <c:v>42879.101283880176</c:v>
                </c:pt>
                <c:pt idx="5">
                  <c:v>7625.128205128204</c:v>
                </c:pt>
                <c:pt idx="6">
                  <c:v>7261.435331230284</c:v>
                </c:pt>
                <c:pt idx="7">
                  <c:v>75823.49665924277</c:v>
                </c:pt>
                <c:pt idx="8">
                  <c:v>42642.53684210526</c:v>
                </c:pt>
                <c:pt idx="9">
                  <c:v>21416.964285714283</c:v>
                </c:pt>
                <c:pt idx="10">
                  <c:v>6750.3125</c:v>
                </c:pt>
                <c:pt idx="11">
                  <c:v>6803.554502369669</c:v>
                </c:pt>
                <c:pt idx="12">
                  <c:v>21518.936170212764</c:v>
                </c:pt>
                <c:pt idx="13">
                  <c:v>51342.777129521586</c:v>
                </c:pt>
                <c:pt idx="14">
                  <c:v>52579.06283280085</c:v>
                </c:pt>
                <c:pt idx="15">
                  <c:v>5644.0</c:v>
                </c:pt>
                <c:pt idx="16">
                  <c:v>68443.00636942674</c:v>
                </c:pt>
                <c:pt idx="17">
                  <c:v>6009.776785714285</c:v>
                </c:pt>
                <c:pt idx="18">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DABA0B9-18F8-486F-AED8-DFD0295F7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3BA0665-CA08-47B3-A625-E09301308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19426AD-8CEA-479A-B763-5C367A51B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606F77-8A14-44F2-BAB1-D6851E98D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417EA47-B46A-4FB8-8341-251B85EA4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290D44E-7381-4895-A7D9-4C3943734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6740C82-92C2-44B3-980C-D52D30D2F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BAB048-3D50-474F-A8BA-61797382E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9B9D142-06AF-4042-BA25-B40970E5F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9B6F87F-B734-4746-82CF-53DC37B7A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29A6346-FA93-4CA3-93C9-8BC5B0E74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D7C1D56-DA08-4F3E-A023-9EDDAB677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46FBAA0-A0E7-4720-84BA-2288EB59D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AD2A7FD-5CDF-4516-B7AD-6E877578E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14B42EE-2B13-46B2-B029-6151D7644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559AEB1-0D49-41C6-AF1C-B05AA8185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3D95F89-5143-46E7-810B-CE7A546E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358F12E-9DBD-4FCC-AEBF-286EDDAEE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354000E-8212-4520-953B-DE77ED0CF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4811707-A897-4A76-83BC-FCC58F8C2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AA943B6-692D-42A6-B4E0-B886B9F10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BE1E851-51DF-43AF-A80F-25F457FAA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004E817-2941-4E14-9CB1-09CFC8562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7AF4F4F-2307-41EB-8E30-DDEC56CFD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0DDF076-1F93-4D58-BB5F-6013CCF7A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AA5CDD0-BCE2-430D-BEFE-56BB4D3F8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74DA73E-D616-4775-8677-344EFE9CD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A1C130A-F97B-48A3-9240-723A4081E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95B6EEA-9238-4016-8103-6572C871C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8C1303E-8341-46EB-83D6-43F62E4E2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479B37F-1B31-4D65-9FA0-E3DEB932A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3A84CDA-44FB-4DBF-AEEF-847EA49D8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C7B001F-7F80-429B-ABFF-F3B174659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2C4F787-AC50-49A4-AA61-DC091B749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8FA2829-ABC5-4735-ABCF-B16C3FEBB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384F269-CB02-4C58-A06A-E0BD6FC18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8CCA72E-D1D1-4B51-A1C2-6CCA146D2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2E19BA8-ED6C-4E13-A0AA-9C5F81248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BE61361-71BE-4694-AACA-BA59A33AB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9590BEB-8B2C-441D-A9FD-62207265D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DD9BDF4-756E-41FE-88CC-A77372C18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7BAAC7D-86CD-460E-9B7C-0EF4484FB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5F470A6-8D57-4538-97B0-EEB2EF50E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8673E8E-095D-4C69-AD75-6815E02E4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6938254-3CD0-4C22-B951-41B93BCA4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D0AA1A9-A6BE-4D94-97F2-2B6B8DCFF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3678DDD-CBF7-4FA9-BFF2-2FAE0BE6E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853897A-85C3-477D-87E0-D0BB49C90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D8D5D9C-03C6-47A3-909B-9D4A99E8C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3ACA516-F717-4010-A2A9-446A21D43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26639FB-4D59-4CE7-BAC2-A2ADA820F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3228935-97DA-4F03-97E8-5701FFB15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AC66C29-1576-42DD-8470-268B0B0AE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EC6AFB6-7B55-4A65-9C62-EAE255750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8CA9404-CAAC-4A79-BE1D-4276CA90D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E8B32EB-B2BE-49A2-AD8D-53EA09718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D3D79CC-6918-4FD8-B163-39CF9604A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051</c:v>
                </c:pt>
                <c:pt idx="1">
                  <c:v>0.4837</c:v>
                </c:pt>
                <c:pt idx="2">
                  <c:v>0.4884</c:v>
                </c:pt>
                <c:pt idx="3">
                  <c:v>0.4473</c:v>
                </c:pt>
                <c:pt idx="4">
                  <c:v>0.3987</c:v>
                </c:pt>
                <c:pt idx="5">
                  <c:v>0.5474</c:v>
                </c:pt>
                <c:pt idx="6">
                  <c:v>0.4477</c:v>
                </c:pt>
                <c:pt idx="7">
                  <c:v>0.299</c:v>
                </c:pt>
                <c:pt idx="8">
                  <c:v>0.4032</c:v>
                </c:pt>
                <c:pt idx="9">
                  <c:v>0.4029</c:v>
                </c:pt>
                <c:pt idx="10">
                  <c:v>0.43</c:v>
                </c:pt>
              </c:numCache>
            </c:numRef>
          </c:xVal>
          <c:yVal>
            <c:numRef>
              <c:f>Sheet1!$B$2:$B$12</c:f>
              <c:numCache>
                <c:formatCode>General</c:formatCode>
                <c:ptCount val="11"/>
                <c:pt idx="0">
                  <c:v>0.7386</c:v>
                </c:pt>
                <c:pt idx="1">
                  <c:v>0.4911</c:v>
                </c:pt>
                <c:pt idx="2">
                  <c:v>0.4198</c:v>
                </c:pt>
                <c:pt idx="3">
                  <c:v>0.4934</c:v>
                </c:pt>
                <c:pt idx="4">
                  <c:v>0.6837</c:v>
                </c:pt>
                <c:pt idx="5">
                  <c:v>0.4797</c:v>
                </c:pt>
                <c:pt idx="6">
                  <c:v>0.5165</c:v>
                </c:pt>
                <c:pt idx="7">
                  <c:v>0.0105</c:v>
                </c:pt>
                <c:pt idx="8">
                  <c:v>-0.0026</c:v>
                </c:pt>
                <c:pt idx="9">
                  <c:v>0.7091</c:v>
                </c:pt>
                <c:pt idx="10">
                  <c:v>0.7317</c:v>
                </c:pt>
              </c:numCache>
            </c:numRef>
          </c:yVal>
          <c:bubbleSize>
            <c:numRef>
              <c:f>Sheet1!$C$2:$C$12</c:f>
              <c:numCache>
                <c:formatCode>General</c:formatCode>
                <c:ptCount val="11"/>
                <c:pt idx="0">
                  <c:v>779.0</c:v>
                </c:pt>
                <c:pt idx="1">
                  <c:v>88856.37563451777</c:v>
                </c:pt>
                <c:pt idx="2">
                  <c:v>31615.113182423436</c:v>
                </c:pt>
                <c:pt idx="3">
                  <c:v>34693.635394456294</c:v>
                </c:pt>
                <c:pt idx="4">
                  <c:v>10233.439767779391</c:v>
                </c:pt>
                <c:pt idx="5">
                  <c:v>37190.41710114703</c:v>
                </c:pt>
                <c:pt idx="6">
                  <c:v>39700.24149286498</c:v>
                </c:pt>
                <c:pt idx="7">
                  <c:v>17923.486707566462</c:v>
                </c:pt>
                <c:pt idx="8">
                  <c:v>38983.218623481785</c:v>
                </c:pt>
                <c:pt idx="9">
                  <c:v>38536.181506849316</c:v>
                </c:pt>
                <c:pt idx="10">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C575B1A-67F8-43C5-870F-F9D869871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DE93333-4848-46CC-B302-72BBD91DD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6C78731-DCE0-452A-A113-316C8FF23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0DBEC30-9B55-4C0F-A377-6DDAB8ABE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A0B5751-61FD-44E0-900D-3B0BF3340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5110614-3AB8-432D-800F-331C61671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0BACD99-014C-420A-B60F-0E20F0714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C5C091-844F-4A34-9A79-98C91BC4B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42EB585-2A4F-4944-A092-398B52E6B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B0C2A9C-7658-4411-B999-712F3DCA1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229505D-B239-4129-B98B-E9B040036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B06975-F81F-45DE-B78D-3DABD3FBA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A253806-7E8C-40F3-8762-7C005E5EC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C6AFC8A-D182-44E5-9E2B-A608DECA0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B1A9D15-D878-4445-8066-7524245BD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DBF393B-B726-4E33-A157-6FF3C0833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2AB558C-80FA-46DD-832A-68B046E12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9D3EA33-E6C6-433B-85A6-61E03F4D2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9188DBB-DC35-4A78-82FD-F42C74664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CA0A111-11F0-44B8-A35E-3895116C3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711B83B-54D9-4B63-B5AF-19227B0D2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B1C1D4C-A608-4FFA-AE6A-4FCD0E1A1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054F00E-E865-43CD-AF73-E509DE774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7A6CE14-30CF-4763-935E-B2C7DB44B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2A819DD-9389-434E-80E4-71C810059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56A81F6-562F-4401-A987-EE6E26C2C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51E9249-A4B3-4E84-AC5F-3251F87E8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98DD8A9-0A31-4FC1-80A1-84ECE2026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417541C-103B-4DCF-A86A-EE722CE17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5E1C9C7-C48D-4A12-A6A6-DFA0A6CB6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D047E10-6213-487B-A4E7-7A298C133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5CCB791-3A8D-4749-BDED-862B67C1F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2ED0D61-A13D-4156-BCE7-5699600D5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BCE1A37-4F41-42CE-A417-1DB30AEED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9851F19-2465-4779-97A3-37EA09D99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47A2CD3-7033-4A30-803B-9C27817A5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E28CC0D-7FC7-48FF-B27A-768437230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230E9EE-8F9B-4E37-83F6-495246563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DE9E866-8BCB-4D43-BE54-E9C02EF7F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45EF3DB-89BC-4FD0-94AE-F4313C651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DF5AA30-57DF-4C7E-BAFD-57B5F0618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6B257D7-9ABA-4619-B16C-9082B41B8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53DE2DC-AC93-4685-BCDD-3C6612838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93B3F6E-E5BE-4EFF-A476-1CC65B730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E9D7408-105F-4178-962E-A6B6CFBAC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FE2854F-1789-4BF7-A182-E1E8AF5FE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B787CCD-F014-489D-9362-B833199F0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3854CFE-B020-479D-983D-CDF13743E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F04FEA8-C03E-4B98-B0C0-B768F8E75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EB9B80A-05E1-4450-A200-7C4867C7E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C034D24-502D-4144-BB58-5D34242BD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2B3B014-C31A-42F0-9A46-3468F9DDD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E53374A-D55B-4819-BC1B-4DF4EDA36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46F22FB-E0C6-4996-9404-F1A9C9A23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C2B6438-7108-4B78-AC23-B843585ED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920FE32-86A6-4856-A49F-0960713B4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32DDE8A-B266-4F98-9BC4-66BF6CA05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585</c:v>
                </c:pt>
                <c:pt idx="1">
                  <c:v>0.3458</c:v>
                </c:pt>
                <c:pt idx="2">
                  <c:v>-0.2485</c:v>
                </c:pt>
                <c:pt idx="3">
                  <c:v>0.3705</c:v>
                </c:pt>
                <c:pt idx="4">
                  <c:v>0.3215</c:v>
                </c:pt>
                <c:pt idx="5">
                  <c:v>0.2958</c:v>
                </c:pt>
                <c:pt idx="6">
                  <c:v>0.3532</c:v>
                </c:pt>
                <c:pt idx="7">
                  <c:v>-0.9105</c:v>
                </c:pt>
                <c:pt idx="8">
                  <c:v>0.3205</c:v>
                </c:pt>
                <c:pt idx="9">
                  <c:v>0.3506</c:v>
                </c:pt>
                <c:pt idx="10">
                  <c:v>0.3919</c:v>
                </c:pt>
              </c:numCache>
            </c:numRef>
          </c:xVal>
          <c:yVal>
            <c:numRef>
              <c:f>Sheet1!$B$2:$B$12</c:f>
              <c:numCache>
                <c:formatCode>General</c:formatCode>
                <c:ptCount val="11"/>
                <c:pt idx="0">
                  <c:v>0.5245</c:v>
                </c:pt>
                <c:pt idx="1">
                  <c:v>0.4895</c:v>
                </c:pt>
                <c:pt idx="2">
                  <c:v>0.6969</c:v>
                </c:pt>
                <c:pt idx="3">
                  <c:v>0.622</c:v>
                </c:pt>
                <c:pt idx="4">
                  <c:v>0.6295</c:v>
                </c:pt>
                <c:pt idx="5">
                  <c:v>0.6518</c:v>
                </c:pt>
                <c:pt idx="6">
                  <c:v>0.7677</c:v>
                </c:pt>
                <c:pt idx="7">
                  <c:v>0.7947</c:v>
                </c:pt>
                <c:pt idx="8">
                  <c:v>0.6902</c:v>
                </c:pt>
                <c:pt idx="9">
                  <c:v>0.6351</c:v>
                </c:pt>
                <c:pt idx="10">
                  <c:v>0.5307</c:v>
                </c:pt>
              </c:numCache>
            </c:numRef>
          </c:yVal>
          <c:bubbleSize>
            <c:numRef>
              <c:f>Sheet1!$C$2:$C$12</c:f>
              <c:numCache>
                <c:formatCode>General</c:formatCode>
                <c:ptCount val="11"/>
                <c:pt idx="0">
                  <c:v>4859.933333333333</c:v>
                </c:pt>
                <c:pt idx="1">
                  <c:v>743.5416666666666</c:v>
                </c:pt>
                <c:pt idx="2">
                  <c:v>914.0</c:v>
                </c:pt>
                <c:pt idx="3">
                  <c:v>3557.604938271605</c:v>
                </c:pt>
                <c:pt idx="4">
                  <c:v>609.5901639344262</c:v>
                </c:pt>
                <c:pt idx="5">
                  <c:v>5031.307692307692</c:v>
                </c:pt>
                <c:pt idx="6">
                  <c:v>4400.727272727273</c:v>
                </c:pt>
                <c:pt idx="7">
                  <c:v>839.0</c:v>
                </c:pt>
                <c:pt idx="8">
                  <c:v>7307.553571428571</c:v>
                </c:pt>
                <c:pt idx="9">
                  <c:v>536.4366197183099</c:v>
                </c:pt>
                <c:pt idx="1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7A752DF-55EA-4313-9E9D-99051E8C5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39D6A8D-025F-4D24-9E36-3A247748C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F9215F1-B1B7-4426-85CE-74FFCFCFC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C8C80A6-7482-4668-AAD9-7A3C5D093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78ED4EE-65A1-4F3C-A56E-F109CF17E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384A32C-52A9-4A1C-BDD9-F254EEE9A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85A33E3-FD6C-45F4-ACA5-CE9693EBC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D28F417-B28D-42E0-929B-1B076A9A5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67</c:v>
                </c:pt>
                <c:pt idx="1">
                  <c:v>1.1921</c:v>
                </c:pt>
                <c:pt idx="2">
                  <c:v>1.199</c:v>
                </c:pt>
              </c:numCache>
            </c:numRef>
          </c:xVal>
          <c:yVal>
            <c:numRef>
              <c:f>Sheet1!$B$2:$B$4</c:f>
              <c:numCache>
                <c:formatCode>General</c:formatCode>
                <c:ptCount val="3"/>
                <c:pt idx="0">
                  <c:v>0.7201</c:v>
                </c:pt>
                <c:pt idx="1">
                  <c:v>0.7195</c:v>
                </c:pt>
                <c:pt idx="2">
                  <c:v>0.7206</c:v>
                </c:pt>
              </c:numCache>
            </c:numRef>
          </c:yVal>
          <c:bubbleSize>
            <c:numRef>
              <c:f>Sheet1!$C$2:$C$4</c:f>
              <c:numCache>
                <c:formatCode>General</c:formatCode>
                <c:ptCount val="3"/>
                <c:pt idx="0">
                  <c:v>3804955.4074999993</c:v>
                </c:pt>
                <c:pt idx="1">
                  <c:v>277855.0290999999</c:v>
                </c:pt>
                <c:pt idx="2">
                  <c:v>297456.8079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4388"/>
          <c:min val="0.9536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0958941743835"/>
        <c:crossBetween val="midCat"/>
      </c:valAx>
      <c:valAx>
        <c:axId val="1011451359"/>
        <c:scaling>
          <c:orientation val="minMax"/>
          <c:max val="1.2247199999999998"/>
          <c:min val="0.33560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6439583653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407E63B-1C75-45C0-B8C4-21FCA1677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30E09FB-A805-41E2-AEA9-E3C534F17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DA790C-E313-4D77-95CC-4A0365E75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8F5775D-CA43-4163-9578-8AFE829A0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D848B99-F050-4F5A-A82D-DFB0442C9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CC1CC86-4B9E-4FF7-8E60-54696E0B1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214740D-E3FA-40F8-B5DD-2F03FB7E4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9BBDD96-15E4-4F9D-B508-AA901D266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28504FA-61C3-4E84-8B8B-8B9DF6A3E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00AA029-66C4-41DC-960B-7F2E8C0F6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AF2CFC4-2C5E-476A-89D2-6998CD016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7AEB566-D4D5-4AA4-BCB9-DBFBD99B9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CEF4B65-104F-41A2-B41C-B17DEA14D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E40EF16-FBE6-42F4-93E6-D9A83358D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B9A9F9A-4F5A-41FC-941E-B1C1124EB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87BD297-49CA-4FB2-8E3C-C2DCA2086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1B24B1A-AC61-4FB6-8593-B4D81ABDF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ACEAE85-BAC1-4BAA-B79C-87E09C241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4E07A1F-ACB7-418E-A907-03E29710C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5C45502-3AB6-42BE-8099-9DB5EE03F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24876E5-280A-4669-8C59-52B9D9E26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E400EC0-007C-4594-9B6C-940DD3E8E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103790D-D3FE-4463-97B1-06A16F003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5494E98-D82A-4273-AEAC-79723852E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5DADE93-5DE7-435C-AB55-7FCD89CFB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1F21AD7-D67A-4AA9-AFE6-4096A681E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F1C9E10-D069-431E-838B-E8EB195E2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221CF1D-3536-4A72-9715-B022E9910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CE45A52-3CB1-4907-9AD4-8F69DF56D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8361555-74F3-47FB-B76D-1E64AF0C8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EEC7825-970F-4A31-9325-16CC93BDE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ACE862B-F958-484C-A3A2-C77E2F43F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59F3C41-627B-45A2-9F01-7957CE89D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61D4366-7533-4370-AF4F-B0022D227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E08B308-9914-47A2-9CC3-F557EC5B0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5700705-56FD-4CFC-8CBC-58C55FBD3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6787CB3-DAF1-4050-9E56-A2C8B1661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B2AFF57-5976-43A6-8181-97CE02836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2F78A9B-AFDF-4D35-9F8C-F3895DB4F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9CE3623-0E43-448A-A338-E98C5F717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DB838FA-025A-41BB-B1A9-3FAB6798E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C274B24-490B-4AA6-9DC8-0889C1307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E11EFF9-41C2-4D62-BB7E-6613133D4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09F97C6-197A-4142-8CB0-7AB3E5FF8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14B1F46-F7F4-458E-9302-D6936B0A0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8F0DC53-AE57-47BE-A253-AE88BB3DD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9EC459A-17A6-44F8-BFE5-FDD77CA74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6B357F4-4BB4-4300-9637-EB3C00E2A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539960B-6C86-4576-A820-ADAA345C0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AA4E1CA-998C-40E5-8E90-D32A4D05C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F996D8E-9B5D-46C3-82F4-B576C5423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0A6032C-F1DA-40A1-A48F-6E8CEAC54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69776E1-4028-4C15-BC74-403FDEC63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10E7AD3-917A-45CD-94EC-6DF790159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9A80BD2-132E-4749-88C5-3458B4482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E2FE41C-A156-4A42-BD6D-14CF88033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1320BCC-2194-44EC-8D53-3D2AADF94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44</c:v>
                </c:pt>
                <c:pt idx="1">
                  <c:v>0.4888</c:v>
                </c:pt>
                <c:pt idx="2">
                  <c:v>0.448</c:v>
                </c:pt>
                <c:pt idx="3">
                  <c:v>0.3989</c:v>
                </c:pt>
                <c:pt idx="4">
                  <c:v>0.5479</c:v>
                </c:pt>
                <c:pt idx="5">
                  <c:v>0.4473</c:v>
                </c:pt>
                <c:pt idx="6">
                  <c:v>0.3031</c:v>
                </c:pt>
                <c:pt idx="7">
                  <c:v>0.4032</c:v>
                </c:pt>
                <c:pt idx="8">
                  <c:v>0.3583</c:v>
                </c:pt>
                <c:pt idx="9">
                  <c:v>0.4303</c:v>
                </c:pt>
              </c:numCache>
            </c:numRef>
          </c:xVal>
          <c:yVal>
            <c:numRef>
              <c:f>Sheet1!$B$2:$B$11</c:f>
              <c:numCache>
                <c:formatCode>General</c:formatCode>
                <c:ptCount val="10"/>
                <c:pt idx="0">
                  <c:v>0.4909</c:v>
                </c:pt>
                <c:pt idx="1">
                  <c:v>0.4199</c:v>
                </c:pt>
                <c:pt idx="2">
                  <c:v>0.4936</c:v>
                </c:pt>
                <c:pt idx="3">
                  <c:v>0.6837</c:v>
                </c:pt>
                <c:pt idx="4">
                  <c:v>0.4789</c:v>
                </c:pt>
                <c:pt idx="5">
                  <c:v>0.5158</c:v>
                </c:pt>
                <c:pt idx="6">
                  <c:v>0.012</c:v>
                </c:pt>
                <c:pt idx="7">
                  <c:v>-0.0022</c:v>
                </c:pt>
                <c:pt idx="8">
                  <c:v>0.7091</c:v>
                </c:pt>
                <c:pt idx="9">
                  <c:v>0.7318</c:v>
                </c:pt>
              </c:numCache>
            </c:numRef>
          </c:yVal>
          <c:bubbleSize>
            <c:numRef>
              <c:f>Sheet1!$C$2:$C$11</c:f>
              <c:numCache>
                <c:formatCode>General</c:formatCode>
                <c:ptCount val="10"/>
                <c:pt idx="0">
                  <c:v>5807.010989010989</c:v>
                </c:pt>
                <c:pt idx="1">
                  <c:v>3302.698113207547</c:v>
                </c:pt>
                <c:pt idx="2">
                  <c:v>2923.9189189189187</c:v>
                </c:pt>
                <c:pt idx="3">
                  <c:v>1148.3170731707316</c:v>
                </c:pt>
                <c:pt idx="4">
                  <c:v>2862.6341463414633</c:v>
                </c:pt>
                <c:pt idx="5">
                  <c:v>3479.353846153846</c:v>
                </c:pt>
                <c:pt idx="6">
                  <c:v>1727.178947368421</c:v>
                </c:pt>
                <c:pt idx="7">
                  <c:v>3081.305263157895</c:v>
                </c:pt>
                <c:pt idx="8">
                  <c:v>3361.8</c:v>
                </c:pt>
                <c:pt idx="9">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17BE922-7241-402A-B6AE-5B2BCA7D1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0443667-851E-47D2-9325-1F399EDB6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423E0D-CD40-469D-BE6B-C99717E94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2BFB25-D4FC-41D3-A527-0AA04ECF2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EAFD28B-B602-4BE9-8ED4-18C8A1922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96D3FA7-740B-4BCA-ACA7-36C2B0272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D89C8FB-8355-4B45-AED0-A80D7E0A5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D07080-4B8B-44E8-B45C-532C03B01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933F833-8B13-4F4E-B07D-F38284B6D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D72BA5C-94FC-47A6-95D0-DC216DE47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DB03C16-23ED-4F17-8711-ACAC1B7E9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6C44E17-408D-4E40-9818-AE9C5CC0E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A82E930-BCE2-4BA7-8952-51D000DC1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E83C432-D402-471C-8789-0E0F12FA2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BCA8A7A-27FB-4044-8EE1-82C873065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BED76E6-FBED-423C-992B-C5330E9EA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FBB1E16-2130-41CA-B5C8-F2B9E9ECF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00AB22C-B99D-4E39-A170-9C8AC7F39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404AE7B-E13B-43B2-8734-1A4618FD0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BF25747-D346-4748-9E62-D2C7633B6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05044B2-A06A-4B24-9D5D-52835269C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9BA7374-AD53-4FCB-8884-7CC2188E2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6C27395-05E4-4B86-B810-39C5B70E1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76FDA24-77F2-4786-83C1-F445127C0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B8DB84B-C123-43E1-8AC5-958A6776A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0E96272-2C32-495B-862F-2112BDF62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22AAC9B-0432-483D-9082-B7131814E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750DFCA-CEF1-479C-BCF7-0C6E86138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6583718-DB35-4691-A385-C7FDD5987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268E26B-DD38-4161-87DB-A5992E343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19E21C7-330E-4E01-B2F4-29FAAB51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9C16D22-B8C8-48DB-AB6E-07C31ECA6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F2138F3-6B74-4246-980C-CA4BD79D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0AC844E-EF9F-4837-A92A-464916D20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7BD4981-95C3-44D9-8DC5-D5E2F927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711E624-F915-4565-BD12-F05AC1238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5E9A0DF-04E0-4EB8-AB50-266F78707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95C6A40-9CD4-44C9-935C-7A91D5BE7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14D26C6-F690-4159-88AA-49AD79B23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B082DC7-FB22-402C-AF93-8419AE77F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D005786-5C7A-4466-A609-BB785B07F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BAB71E3-5CFA-4113-BDC0-6E251996E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2F2396C-0FA5-4499-86EF-16D622D8D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C619A61-4F04-44E8-9294-09F3C441D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AE970EC-4ABF-441D-98FA-5871B9E26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C35CDA5-ACCB-4994-9F4C-AAD861F3E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1CE76EC-1FFF-4C0D-9A65-B1C625EE9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597BC14-8CE7-4651-B5E7-5445ABA92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6ECEC49-55BE-4DFB-A099-7320CB3E0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A3E1C3A-7282-4119-8FEA-8D200F0D8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DADAD96-ECD8-41F6-B018-B176B4A24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D739D2E-4D4B-4E1C-B6CA-6CCE74FB8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22780C1-AD16-4A57-B904-D9215596C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F287A6A-EEBE-4072-9560-6C63C1282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289CBE3-70C1-43EC-B154-D2C4BF519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9EB2BBD-8ACB-4AA4-8D64-07428A1CF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8978C4A-5205-4CBC-86A0-6D831881C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6583</c:v>
                </c:pt>
                <c:pt idx="1">
                  <c:v>0.2228</c:v>
                </c:pt>
                <c:pt idx="2">
                  <c:v>-1.683</c:v>
                </c:pt>
                <c:pt idx="3">
                  <c:v>0.3666</c:v>
                </c:pt>
                <c:pt idx="4">
                  <c:v>0.2205</c:v>
                </c:pt>
                <c:pt idx="5">
                  <c:v>0.3679</c:v>
                </c:pt>
                <c:pt idx="6">
                  <c:v>0.3464</c:v>
                </c:pt>
                <c:pt idx="7">
                  <c:v>0.2843</c:v>
                </c:pt>
                <c:pt idx="8">
                  <c:v>-0.6417</c:v>
                </c:pt>
                <c:pt idx="9">
                  <c:v>0.3211</c:v>
                </c:pt>
                <c:pt idx="10">
                  <c:v>0.3918</c:v>
                </c:pt>
              </c:numCache>
            </c:numRef>
          </c:xVal>
          <c:yVal>
            <c:numRef>
              <c:f>Sheet1!$B$2:$B$12</c:f>
              <c:numCache>
                <c:formatCode>General</c:formatCode>
                <c:ptCount val="11"/>
                <c:pt idx="0">
                  <c:v>0.6078</c:v>
                </c:pt>
                <c:pt idx="1">
                  <c:v>0.2544</c:v>
                </c:pt>
                <c:pt idx="2">
                  <c:v>0.797</c:v>
                </c:pt>
                <c:pt idx="3">
                  <c:v>0.3715</c:v>
                </c:pt>
                <c:pt idx="4">
                  <c:v>0.6948</c:v>
                </c:pt>
                <c:pt idx="5">
                  <c:v>0.6037</c:v>
                </c:pt>
                <c:pt idx="6">
                  <c:v>0.7142</c:v>
                </c:pt>
                <c:pt idx="7">
                  <c:v>0.7271</c:v>
                </c:pt>
                <c:pt idx="8">
                  <c:v>0.7947</c:v>
                </c:pt>
                <c:pt idx="9">
                  <c:v>0.6903</c:v>
                </c:pt>
                <c:pt idx="10">
                  <c:v>0.5305</c:v>
                </c:pt>
              </c:numCache>
            </c:numRef>
          </c:yVal>
          <c:bubbleSize>
            <c:numRef>
              <c:f>Sheet1!$C$2:$C$12</c:f>
              <c:numCache>
                <c:formatCode>General</c:formatCode>
                <c:ptCount val="11"/>
                <c:pt idx="0">
                  <c:v>1414.0</c:v>
                </c:pt>
                <c:pt idx="1">
                  <c:v>14923.912087912087</c:v>
                </c:pt>
                <c:pt idx="2">
                  <c:v>789.0</c:v>
                </c:pt>
                <c:pt idx="3">
                  <c:v>6680.846153846154</c:v>
                </c:pt>
                <c:pt idx="4">
                  <c:v>66122.91836734694</c:v>
                </c:pt>
                <c:pt idx="5">
                  <c:v>19149.166666666668</c:v>
                </c:pt>
                <c:pt idx="6">
                  <c:v>5990.285714285714</c:v>
                </c:pt>
                <c:pt idx="7">
                  <c:v>19381.2</c:v>
                </c:pt>
                <c:pt idx="8">
                  <c:v>4359.0</c:v>
                </c:pt>
                <c:pt idx="9">
                  <c:v>57541.3875</c:v>
                </c:pt>
                <c:pt idx="10">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09EA403-5221-41DF-9A2C-63CEEDEA4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B2C7B88-8DAF-4835-949B-0D4187279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4403A1D-24C6-4A3F-80CB-2AD6269EC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27F9054-5199-42B1-A525-CDA38EDA6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89E61BC-D20B-40E7-8758-A619E2ABD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EEAA216-05E3-411A-B90C-C6DB802C5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82B427E-ADFB-47AA-A72E-F3964E715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92EC2FF-CB59-4391-ADC7-48BE23D4A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2BB4485-9601-4792-9762-F8C4E5D10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81BDBFE-3B4C-487E-8F62-B5A249078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487C7C4-23FE-4B5E-88B4-F4C87515F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06406D-D69A-44B4-8AAB-21B392B06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1A474BA-7B2D-4E7F-AEBE-0040E3386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4FF07DE-DD00-4A8E-A888-E4B23EA1F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22B972D-ACCF-4C38-84EF-DAF97DA36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00EBD23-F44B-4B8C-B557-FEF2F15D0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B2939F6-97EC-4010-B818-CB94CC92D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B1CFB79-D26C-41CA-A9E1-AF9835693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6215874-9CF6-4715-8096-A8321F756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AF6ED23-EFEC-4FF6-BFF0-1E22DA46D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EECABC6-F0E0-4D25-99EE-CFF597ABA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31F80BF-8815-4943-9D5F-C43AF4FE9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0E1D77E-6291-4DC6-99E7-C3503EA1D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1005EE1-1C10-4717-A2D3-093B84862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B4C307D-0304-4B84-9B06-449DB1377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7EE51D0-14BB-47D8-8A20-EDF90DD91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FF80C26-32BA-43FE-8338-A6E4CD72B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616131E-A2CB-4289-A61B-CF7ACB410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D7CFCE5-DBC1-41A0-B9D2-5852FD4A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6B0ACEC-36D7-4883-9815-06F96F3F6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802F683-0D87-4226-A131-52AC6C641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DD24F55-1354-4328-A662-65A8FCFFC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781EBC9-6FBC-4633-85E5-31F0FF199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973141E-A69D-4355-916C-446655E94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D6CE175-0A34-4F9E-8491-1467B5D2E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F0611C9-C633-4F16-8B6F-D9ED8C401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892E1ED-B6A8-4B40-8836-BD5D965B0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695698C-2B95-4805-B8FA-D2D00A1BE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582A450-0A4C-4A05-BA17-22467D864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6293AFC-6382-44AA-A2B6-F93A5ECBE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CC34BA1-2241-4237-8E69-2CD125235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32288A1-4686-4B9D-8701-DB0515576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3552A7D-D477-4115-895A-40024327A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C97F3BD-F296-4C7D-9765-AB9260786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5D31573-30BA-449B-833A-2544EADE5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8E150EE-E9F2-4AD7-B57C-36DADEDE4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E1E1739-C428-44A8-8251-E537B565D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F680C2C-835B-4E5B-9F93-E9959B101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0BEFCC2-05D3-4AA8-A02C-30960418A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7FDF901-7BDC-4FE5-8866-80D3FE4C7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238BE29-B254-45FB-AEC6-3C58F772F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D66573C-BE2F-4754-9C14-2CE0DC286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0D9E1BB-D89B-4957-A3C0-6E56A97F5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147ABD1-93C1-43E6-B363-974E0370F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454D696-C601-4F46-8DB2-B62A3358F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171A2A1-48C1-4F03-83ED-B1CF2A717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F141058-DF9B-4295-B359-D434F49C9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4</c:v>
                </c:pt>
                <c:pt idx="1">
                  <c:v>0.3987</c:v>
                </c:pt>
                <c:pt idx="2">
                  <c:v>0.4065</c:v>
                </c:pt>
                <c:pt idx="3">
                  <c:v>0.4301</c:v>
                </c:pt>
              </c:numCache>
            </c:numRef>
          </c:xVal>
          <c:yVal>
            <c:numRef>
              <c:f>Sheet1!$B$2:$B$5</c:f>
              <c:numCache>
                <c:formatCode>General</c:formatCode>
                <c:ptCount val="4"/>
                <c:pt idx="0">
                  <c:v>0.4198</c:v>
                </c:pt>
                <c:pt idx="1">
                  <c:v>0.6837</c:v>
                </c:pt>
                <c:pt idx="2">
                  <c:v>0.7091</c:v>
                </c:pt>
                <c:pt idx="3">
                  <c:v>0.7317</c:v>
                </c:pt>
              </c:numCache>
            </c:numRef>
          </c:yVal>
          <c:bubbleSize>
            <c:numRef>
              <c:f>Sheet1!$C$2:$C$5</c:f>
              <c:numCache>
                <c:formatCode>General</c:formatCode>
                <c:ptCount val="4"/>
                <c:pt idx="0">
                  <c:v>26568.493506493505</c:v>
                </c:pt>
                <c:pt idx="1">
                  <c:v>8564.56338028169</c:v>
                </c:pt>
                <c:pt idx="2">
                  <c:v>32905.13333333333</c:v>
                </c:pt>
                <c:pt idx="3">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CB49B1A-8771-408B-8FB8-C1E05D7D4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5395BE3-829B-41AD-884D-F5119A2D4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4181BE-30B7-400B-B27B-8155C47F5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4FAD07-BAE5-46DB-BCF8-A4F64FF7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A04112F-D7B6-450D-AD9E-B27D639F4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23562FA-424B-4032-9C03-416CE3294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268A2E1-4FF0-46BB-BCCF-1A73B2826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36294A6-F7CA-4088-A1C5-0563EDF4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151ED25-F1F3-41EF-BBB7-48CE97FD4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A5FEA0A-4614-41CA-BFC0-C82491D3A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6FAECB1-5948-4C45-904B-2AA958327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67B295F-2F84-4978-A403-5B493FB0D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2CCC143-09BC-450D-8DD6-E30271D01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439A30A-8B5A-43F1-B039-5E2FDCFB0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57D3551-E1D6-49B8-B490-7F32DE0C3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0536E1D-A543-4B83-ACC0-63CA3E56D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2BFBECC-4D2B-417C-A767-887671403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760FF48-4440-4923-966B-D3D801A85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2CCF217-A4AE-4C97-B556-48E6B80B0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85D1B3E-28FA-4F00-9067-356040A46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C7F78D7-2253-49A9-9DD8-CD5284006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B5D2609-97A3-4C16-8C8E-33365C784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5B3F2AF-8065-4A63-8043-B276F6D13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F903B90-7DB4-4D32-8755-13A62B2BD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1478EE3-9D21-43C9-9737-AB1C5C946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F15FE53-F60B-4746-BED7-7FD37C526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72D272C-A35C-4516-B0B8-43127997A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3CFBD8B-7B70-4DD0-8C46-D8208C69D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ADD2D02-3666-4F8C-9B6E-68CBEF378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996DE48-15FE-4C61-93FC-CF2CF6E51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FB162A2-A9DC-4E95-B79C-216840F19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CB7B079-BAED-47D2-BF61-EEDBCF361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66841CF-34F2-4A30-8A93-72ECC04C7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794C245-D02B-4127-818C-35A2130C9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71B9E36-52D7-419F-92D5-4EA216380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9A6BD67-CB84-4DE4-9237-422BA8F11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DB42862-C736-4D57-9773-C9EDCC729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3EFF8F8-1FA3-4A07-9756-BBFC64017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131C008-2F08-4D83-97F2-8D2065FC4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F95FC2D-2AE3-490B-AE2D-57202765B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51590F3-3641-4686-B8DA-498A028FD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F704983-896E-4CD0-B0E1-8FEFF3F58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A4FF675-D742-4044-82A5-F5B8249C6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A7E4234-B09C-4CDC-8C8C-2E7AC3444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A7E66E4-E70D-4630-B1F3-FD9320A00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FBF51FB-65D5-430D-A470-59F827B9B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2FE8DBF-8A8C-434C-BAE1-A2B378600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EBDABC5-8BB5-4B95-ACFA-ADF5B47D3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060BAC4-1A94-4B92-AAA5-AAB697EB7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C11E298-3282-4E5E-B362-CC2A0DC29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88109AF-4353-44C5-A484-037D1065E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DD9BE4C-0EDB-435F-AA87-DA7F564E5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E26B32F-F09A-4664-AC9E-16AF8A03C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BD0C159-5FA9-4F08-B646-FDFC862F5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7AEC12B-1E1F-47C6-9578-A3C75DB39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65F9AB1-A203-4B2E-8609-5BDF8631D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0B7BF07-A8A1-44E8-889B-9C14CDCA6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485</c:v>
                </c:pt>
                <c:pt idx="1">
                  <c:v>-0.9105</c:v>
                </c:pt>
                <c:pt idx="2">
                  <c:v>0.3205</c:v>
                </c:pt>
                <c:pt idx="3">
                  <c:v>0.3919</c:v>
                </c:pt>
              </c:numCache>
            </c:numRef>
          </c:xVal>
          <c:yVal>
            <c:numRef>
              <c:f>Sheet1!$B$2:$B$5</c:f>
              <c:numCache>
                <c:formatCode>General</c:formatCode>
                <c:ptCount val="4"/>
                <c:pt idx="0">
                  <c:v>0.6969</c:v>
                </c:pt>
                <c:pt idx="1">
                  <c:v>0.7947</c:v>
                </c:pt>
                <c:pt idx="2">
                  <c:v>0.6902</c:v>
                </c:pt>
                <c:pt idx="3">
                  <c:v>0.5307</c:v>
                </c:pt>
              </c:numCache>
            </c:numRef>
          </c:yVal>
          <c:bubbleSize>
            <c:numRef>
              <c:f>Sheet1!$C$2:$C$5</c:f>
              <c:numCache>
                <c:formatCode>General</c:formatCode>
                <c:ptCount val="4"/>
                <c:pt idx="0">
                  <c:v>914.0</c:v>
                </c:pt>
                <c:pt idx="1">
                  <c:v>839.0</c:v>
                </c:pt>
                <c:pt idx="2">
                  <c:v>7307.553571428571</c:v>
                </c:pt>
                <c:pt idx="3">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59BE509-023F-4F9E-B21B-8233D83A5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DD1DDB6-5DDE-470D-B6B8-866981FA5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AD1AD2-91F6-4E9D-AC3F-BE62116BF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C39087-DCF8-4CDA-A8A6-C981114C1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D25F312-BF13-4A50-9F74-F10508BA6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30942F2-4294-4F3E-8B9B-44085FAF7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75D7E4A-628B-4B98-AFEA-BB59C097D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2FF621B-E66C-45B5-BF33-F5CE04931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E57A97D-9D7B-4503-8039-0C1819C0B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4B49064-153F-49EC-BBFF-A51B38EFE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7FA1941-79C3-4C99-8B18-9774B3F16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1EDED47-88A1-473C-B62F-E941E4FF5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7B292A7-1534-4ACA-9F30-C6792D07F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24F460F-D49F-4379-A309-2D6943084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FF887CA-0C97-4B3F-81E7-F8B2B7D88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C7BC141-D1CF-4C6D-BD17-ABEC1DF74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91BA394-4F5C-4A05-916A-D484F5AAA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5957D6C-F3C4-4303-A3E1-57C692ABE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0AFA59D-F353-444B-B8AC-97A148C2C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E20CDE0-E2FB-48E0-AA4D-E53DEFA4B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DFF4104-D044-4671-B82B-0DE343BA0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57E7B34-852E-4C4A-961D-85B7E135F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AE3227A-F543-430D-AF82-FDBDF4582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4CF773F-78E4-4B1F-B7C0-F54A75341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179D922-0A10-4F5D-BBE1-64A7950EB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A73C8E5-B775-4D13-9CF6-670072AE6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AB93F42-5517-472D-8873-AC34C6D88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7D10175-F1EC-4466-B849-5BBD42181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E2BD727-D5A8-412D-8543-538A416AA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E512ED7-B249-4BFC-9153-6FB784D5A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CB5CF3F-DB08-4AAD-B7CA-83EA6B8A8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384A815-BAA0-4587-98E8-1F02669D9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C613D1C-65E0-4CE7-A7A8-69A7DE2CD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80F7C20-BBF4-456B-9C0D-34A458DF3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61F22AB-84D4-48D5-8D21-B59EBEE4F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9B54B24-4100-4DDC-94F8-9C48958CB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610F009-A08B-4A98-9DC4-A42A1488A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D9ABC3F-D604-4E0A-9FA7-473A9C9EA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1856069-AF81-417C-ABE1-82DD767A8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F1DB711-2589-44BE-AE1B-105384FE1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E9C0784-787B-4F35-A9F8-FF60CB414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594789E-BBCE-4BB5-95C0-21154FC9F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ED5D4B8-E2C1-4A7D-BACF-4A50B4BE6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8624BBA-F0D8-4AE0-A3A8-D0E321B3A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2D9882B-78FB-4D74-A83B-A2D9E9ABA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5045AB1-0FC4-4F2E-90FD-D039662C9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2A112C6-12B5-4F8D-875B-300EE84D8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0560FE0-C9D8-4C0F-AAD9-AE9AAC632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0D8FC68-22E3-415B-966F-F9F8D0650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B348891-39FD-454B-8F65-8D88C0CFC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97B592D-81E1-4BF6-B8CC-BCC42C1AB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1BD7E10-567C-4EAE-884F-E04E691E2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CC74BC0-6779-48E4-B515-2A5F5E71E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A928CBD-9D0D-4533-87BA-13963DF44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72AB2D1-7A43-4869-8BB5-E00B3050E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D57C3E0-4E04-41AD-8456-5C40A494F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F25F01C-A5ED-45A8-A712-5E469FC7B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8</c:v>
                </c:pt>
                <c:pt idx="1">
                  <c:v>0.3989</c:v>
                </c:pt>
                <c:pt idx="2">
                  <c:v>0.3583</c:v>
                </c:pt>
                <c:pt idx="3">
                  <c:v>0.4303</c:v>
                </c:pt>
              </c:numCache>
            </c:numRef>
          </c:xVal>
          <c:yVal>
            <c:numRef>
              <c:f>Sheet1!$B$2:$B$5</c:f>
              <c:numCache>
                <c:formatCode>General</c:formatCode>
                <c:ptCount val="4"/>
                <c:pt idx="0">
                  <c:v>0.4199</c:v>
                </c:pt>
                <c:pt idx="1">
                  <c:v>0.6837</c:v>
                </c:pt>
                <c:pt idx="2">
                  <c:v>0.7091</c:v>
                </c:pt>
                <c:pt idx="3">
                  <c:v>0.7318</c:v>
                </c:pt>
              </c:numCache>
            </c:numRef>
          </c:yVal>
          <c:bubbleSize>
            <c:numRef>
              <c:f>Sheet1!$C$2:$C$5</c:f>
              <c:numCache>
                <c:formatCode>General</c:formatCode>
                <c:ptCount val="4"/>
                <c:pt idx="0">
                  <c:v>3302.698113207547</c:v>
                </c:pt>
                <c:pt idx="1">
                  <c:v>1148.3170731707316</c:v>
                </c:pt>
                <c:pt idx="2">
                  <c:v>3361.8</c:v>
                </c:pt>
                <c:pt idx="3">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84405D2-253E-4F27-A194-8AAAC3867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B30BEAC-A6DB-4B0F-9CA2-DDD52B8A8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1A88354-1C94-4BB5-BF89-783D4EE42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DC6BF9-EA9D-423C-A049-8A21D0C05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27E1401-9C9F-4748-8170-636090775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7411E62-E07B-43CC-8AA7-9D80B2AFE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9DBCC81-C462-4A38-BD88-1B6E5D3D3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36F733C-285E-42A3-AB06-12D24749A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47B71D5-8D1F-4C84-A0B0-37AE43163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8EE1CB6-9AD0-4D04-8C45-FE250A491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0480BE6-0FA4-4384-AAA2-1D0992DFC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0F31555-13D9-4B07-8E93-81C5A8D3A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B13258E-78AC-4229-8460-E6E33480B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5E25CBB-0055-4CDC-8D3D-A80B021AF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9BEC6C4-D0D5-4B83-B487-68B912849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1A03C3D-921E-477D-97DA-14F460533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1F2C66C-D7EA-4E86-B0D8-C1A8DFE68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C424A02-6E63-4014-B8F7-213ED30F0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0D186AC-205D-48EB-AE0B-9E8C4B1DB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19362D6-19EE-45BF-8E58-0718B5374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F27704E-CE30-4FE7-81DB-33C9A5857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7CEAB41-F8FF-4939-9081-B7E6C8E53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FDC8830-2545-4866-BB36-783597275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D1E942E-D0D5-4265-8D37-94A6F9EE3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DB05AF4-49F2-413F-A23E-2FF168B83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980CB62-25AC-4227-8FBD-714D136FD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1FBEB90-9BB1-4BC0-B40F-94F53D6C6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AEEE43C-4230-4217-9EDC-0121A23AF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76E62C9-A655-48FA-A78E-8DD8F90ED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7F2BE26-A946-4DB0-A80E-BB0374A64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3C1468F-BF0C-4D1A-BC40-8486F9F70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2B59F46-B376-470A-9353-0D0C7B32A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02179B3-0FF6-48C9-9BE5-B04F057AA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5FC2C4D-B2FC-4CD0-98A0-70AAE4899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15AE859-8D4A-4EA7-B18C-5A44336CA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F946FD7-3D45-4DB5-A392-BE484BC19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E911BB0-95F8-4C88-AE06-50195DB48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EDEDEF3-0B80-4A8B-8C40-9386959B5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CF58F05-2D95-4948-8329-4DFE7CEE1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03C1157-28FD-428D-B336-9848D9D93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34C316E-7235-4F9A-95ED-6EDA898F0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93F342D-A614-4B71-8BEF-C7C99A615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B1DB9C8-C198-433C-A684-BE893C758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46484F8-8298-4C63-901D-48A83A22A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F6C58E3-FF4D-4DF7-B28C-7E8ABE6FA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E2FBF05-2611-4F06-B418-CD6C7783C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35B2A2C-AEBA-44FE-A723-374C1D31F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FB0689B-DBEB-4565-9E1A-0FD80A355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329C699-46D7-4861-9C3E-975A1837A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E69D9D4-48BC-4854-9219-DA9063309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05A579A-DC91-42DA-94CD-0F8FEF593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1AD1F1D-096C-4C7E-8736-E4AE157BA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F8F431D-F14C-4FE2-99D9-79D5BA08E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0F0D420-80F4-4D30-AE41-737AD1EA9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237EBB3-2F43-498B-9BCB-7DC1435B7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D5DE17D-091D-460F-A807-76ACB4C30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711B9C7-25AB-4523-9CCF-D31C4B39E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917</c:v>
                </c:pt>
                <c:pt idx="1">
                  <c:v>0.3711</c:v>
                </c:pt>
                <c:pt idx="2">
                  <c:v>0.2194</c:v>
                </c:pt>
                <c:pt idx="3">
                  <c:v>0.3585</c:v>
                </c:pt>
                <c:pt idx="4">
                  <c:v>0.2027</c:v>
                </c:pt>
                <c:pt idx="5">
                  <c:v>0.3207</c:v>
                </c:pt>
                <c:pt idx="6">
                  <c:v>0.3918</c:v>
                </c:pt>
              </c:numCache>
            </c:numRef>
          </c:xVal>
          <c:yVal>
            <c:numRef>
              <c:f>Sheet1!$B$2:$B$8</c:f>
              <c:numCache>
                <c:formatCode>General</c:formatCode>
                <c:ptCount val="7"/>
                <c:pt idx="0">
                  <c:v>0.2544</c:v>
                </c:pt>
                <c:pt idx="1">
                  <c:v>0.372</c:v>
                </c:pt>
                <c:pt idx="2">
                  <c:v>0.695</c:v>
                </c:pt>
                <c:pt idx="3">
                  <c:v>0.6039</c:v>
                </c:pt>
                <c:pt idx="4">
                  <c:v>0.7269</c:v>
                </c:pt>
                <c:pt idx="5">
                  <c:v>0.6906</c:v>
                </c:pt>
                <c:pt idx="6">
                  <c:v>0.5305</c:v>
                </c:pt>
              </c:numCache>
            </c:numRef>
          </c:yVal>
          <c:bubbleSize>
            <c:numRef>
              <c:f>Sheet1!$C$2:$C$8</c:f>
              <c:numCache>
                <c:formatCode>General</c:formatCode>
                <c:ptCount val="7"/>
                <c:pt idx="0">
                  <c:v>1094.75</c:v>
                </c:pt>
                <c:pt idx="1">
                  <c:v>472.6</c:v>
                </c:pt>
                <c:pt idx="2">
                  <c:v>5275.419354838709</c:v>
                </c:pt>
                <c:pt idx="3">
                  <c:v>999.2</c:v>
                </c:pt>
                <c:pt idx="4">
                  <c:v>1055.75</c:v>
                </c:pt>
                <c:pt idx="5">
                  <c:v>4560.025316455696</c:v>
                </c:pt>
                <c:pt idx="6">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CD296CB-66B7-468A-B359-0F5119517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A53EA9C-7E8E-4B96-B77F-58F0C84C9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37E9A7-9C39-442C-AF77-896C54DA3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C4D3EE-8EA3-4A10-8C4A-1C2C831AA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254A4B6-398C-49F6-B245-2AE595E63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532B154-0ACF-486A-A27C-F74DB4AC8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0D19335-14C6-4D8A-8C7E-D066A3E4A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4EC38F2-7895-4E33-941B-DE4D6996F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D59075A-F405-4293-B66F-EEBE251CE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ED71EF3-5F07-4900-A088-9884C11D2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EC949D7-F9AB-4B78-A812-CA9F72EA3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00401CF-D5BC-4FF8-A01B-702DECF21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41470D8-E043-4518-8E69-E65669873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9959915-13AB-40BC-9864-5083CCD30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C6B4FD9-44F8-4306-9315-AC8C2841F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9F4EAD1-404C-4475-BF75-13AB60A99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3360FD2-4226-4574-AEFE-5D29451D9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5D75C5A-9606-4198-8566-3B8CBD4B5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E74C8CE-BAEC-4701-A1FA-55DF70EFF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58912E8-187D-400E-B0B5-8E70418B0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5E68F81-68FE-4835-BCB6-6ADF2A15B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049F830-BEF5-4B4C-BF5D-5DD331595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089D92D-69B2-4109-AB06-F2E3A81C7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AB84A6A-81AC-4FDB-B48A-5E65F08E5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3025648-F2DA-42F3-8354-AA2A34211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20E3893-C94E-453C-9F99-397256B8D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D4830DB-AF14-4557-B1AE-605ED6746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994FC6B-B1C8-48BF-8363-C62F76C84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C21572E-07CA-4DF1-AA92-EE5C7EF7F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1BE0574-A0F9-483B-9BAD-EE3DFB310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9AFAC44-6D0D-42AF-A188-1DDB664C1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5CA1A47-4280-4E92-98DF-F46075612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1010780-9E7D-4807-AC7E-296DB9757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451576C-BA5F-41E1-A16C-0D94ECFAE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A63E441-80AC-495A-AE0C-FC4E30D5B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1BFB306-CF98-415F-9C93-91085DF82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B3215E6-27E5-471A-A398-96007EFAF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BB4DFD3-0CBD-4DB6-951A-7A8876384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82AD4A5-7889-4AAB-AB93-048D4F120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82DAD79-DFF4-4983-8956-BA2373B2B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51FA123-B20D-4958-96E7-BEF57B701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DB4560D-2B83-43F8-A2CA-AA842FF21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D3A04C9-0F0C-4B32-8387-453AE97C9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769EDC6-AD7A-431B-97EE-F6DE29370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DB82EB3-0C02-4597-907F-BF8617B6B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A2EB66E-C2E6-461C-B036-4E3AC5EE2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4DB407A-89C4-471E-8440-529D50DC2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D25FDEB-E24A-4D16-A0EF-83679D217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1D53AEA-5541-492C-841E-EEBD56054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A59AF7D-135E-4718-BDE6-23EDB9941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1CD1662-6FCF-450C-AC3F-C2F0F97FD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2E9997F-E641-4CC1-B7D9-C80F07E1F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7640B47-C00B-4665-AFD8-C87C32ED6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645266D-B96B-4F46-B39C-FB1E6362A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BA991A5-B22C-48EE-B619-BC6A12516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5BC2886-34B7-4DF3-A8BA-8943E1198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D41CBF5-44D0-40F3-8B03-DB597FE29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75</c:v>
                </c:pt>
                <c:pt idx="1">
                  <c:v>0.3974</c:v>
                </c:pt>
                <c:pt idx="2">
                  <c:v>0.396</c:v>
                </c:pt>
                <c:pt idx="3">
                  <c:v>0.4292</c:v>
                </c:pt>
              </c:numCache>
            </c:numRef>
          </c:xVal>
          <c:yVal>
            <c:numRef>
              <c:f>Sheet1!$B$2:$B$5</c:f>
              <c:numCache>
                <c:formatCode>General</c:formatCode>
                <c:ptCount val="4"/>
                <c:pt idx="0">
                  <c:v>0.4195</c:v>
                </c:pt>
                <c:pt idx="1">
                  <c:v>0.6837</c:v>
                </c:pt>
                <c:pt idx="2">
                  <c:v>0.7091</c:v>
                </c:pt>
                <c:pt idx="3">
                  <c:v>0.7317</c:v>
                </c:pt>
              </c:numCache>
            </c:numRef>
          </c:yVal>
          <c:bubbleSize>
            <c:numRef>
              <c:f>Sheet1!$C$2:$C$5</c:f>
              <c:numCache>
                <c:formatCode>General</c:formatCode>
                <c:ptCount val="4"/>
                <c:pt idx="0">
                  <c:v>2192.542857142857</c:v>
                </c:pt>
                <c:pt idx="1">
                  <c:v>745.0597014925373</c:v>
                </c:pt>
                <c:pt idx="2">
                  <c:v>2624.685185185185</c:v>
                </c:pt>
                <c:pt idx="3">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41DE4B1-FE87-4D24-A2C9-E551094C8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6408A7B-6E90-4AB0-8A66-D56DF271A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091339-7703-4498-9B0C-A04360B55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7982D4-798F-4BDF-9E0D-6059CD4E2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42D1ABF-46AC-4543-BCB7-14BB9716D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37615C6-3C33-4726-8F76-DFD0D6BFE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C139679-5448-482E-80B0-6800D5FBC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80C45E2-9C2C-4FA2-B854-2CE299E50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8C196BC-C868-4D8C-924F-652095AFC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B5ADB3F-E280-4093-8512-F72F3D56F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9781202-465F-43BB-A84A-3EFEF2CA4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A405138-8463-4D6E-81AF-1EF35424B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A8D4877-EB69-46C7-87F8-1DD08B0D2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85C4CCA-5F1D-4620-BE8A-BE6072AF6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705C7EC-3E0A-47CB-88A3-DD005E5DC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504FFD8-B9A8-4635-A0F8-38EB1EB56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A8BD33B-CA1A-4715-A833-6131E395D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4DDA5C7-D3B0-491F-9636-9E608822D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29D9320-0FBC-4D64-8019-0EA25C4B3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0AB7143-A156-472F-B597-97BD8F026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084C7E5-BA32-4B74-A646-7B9E766CD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1B95778-0843-43D7-9426-E522E3961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E1A85BD-9527-4FAF-87F8-4417AC856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898CFCC-FDE3-41D3-BF20-6C7BBCDFD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2435026-30E4-49D0-BB3A-3FC161DBF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9CBBB1B-5CB8-45A0-80A5-89F390459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4AFBB93-2128-453C-A599-891135380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43F879E-5B20-47A3-96E6-C7C95BDAC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09204AA-3DB9-4674-B608-07B40BC54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4A4F4CD-3F78-4044-A72F-F37B60C09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3C043E2-AD54-4EB9-BC4D-17527D095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54619EB-3F33-47A4-BB70-133D05EA7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AF98CF2-8848-414C-A8C6-1D443ADBC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EC61DF4-E8C9-410F-B920-4CB82CF80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ED2FAD0-DB80-48B3-916B-567A86CB0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795E573-899D-427E-8E26-3A1848A51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0F62FCE-2B40-47E7-9C48-00B832194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5763908-30FE-4069-8E87-8AFA78379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E260FE5-4090-419D-9FBB-947A1F55D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BFA4EED-D9D5-4BC1-A517-DF1646E1E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07EC723-62B1-48BB-ABBD-7E5ED8ADE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D210DE2-5523-48E5-9205-39233F97B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8D42221-5E2A-426B-80D0-92A61D042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0450C8A-8D45-43B7-8F35-2ECF81117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7AE7857-5B4D-42EF-A772-FA743D1EB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06F2660-79D8-4120-A6B2-AA4494426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91C989F-EEDA-44DE-B82B-72106480E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B785900-BF22-4570-B5F7-5121C01A4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185CBDB-204D-4615-9569-8476192D1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7DF54D2-278D-4357-9DD1-62FC37B40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5D6A734-DA19-448B-BD07-DAE8140C7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AC0768A-7FF7-4432-BF2C-B1F43D1D7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78CC201-093C-4918-B4D6-EEF76994E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069A32F-7D26-487E-BC5F-E1D565473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DC9F242-0723-419A-8E83-4EC59CA2C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2EBA677-F1F2-40C3-926A-9202E79A4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9E4883D-5488-4E53-89AC-6E8361814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6831</c:v>
                </c:pt>
                <c:pt idx="1">
                  <c:v>0.223</c:v>
                </c:pt>
                <c:pt idx="2">
                  <c:v>-1.6975</c:v>
                </c:pt>
                <c:pt idx="3">
                  <c:v>0.3668</c:v>
                </c:pt>
                <c:pt idx="4">
                  <c:v>0.2203</c:v>
                </c:pt>
                <c:pt idx="5">
                  <c:v>0.3675</c:v>
                </c:pt>
                <c:pt idx="6">
                  <c:v>0.3456</c:v>
                </c:pt>
                <c:pt idx="7">
                  <c:v>0.2809</c:v>
                </c:pt>
                <c:pt idx="8">
                  <c:v>-0.6721</c:v>
                </c:pt>
                <c:pt idx="9">
                  <c:v>0.321</c:v>
                </c:pt>
                <c:pt idx="10">
                  <c:v>0.3918</c:v>
                </c:pt>
              </c:numCache>
            </c:numRef>
          </c:xVal>
          <c:yVal>
            <c:numRef>
              <c:f>Sheet1!$B$2:$B$12</c:f>
              <c:numCache>
                <c:formatCode>General</c:formatCode>
                <c:ptCount val="11"/>
                <c:pt idx="0">
                  <c:v>0.6078</c:v>
                </c:pt>
                <c:pt idx="1">
                  <c:v>0.2544</c:v>
                </c:pt>
                <c:pt idx="2">
                  <c:v>0.797</c:v>
                </c:pt>
                <c:pt idx="3">
                  <c:v>0.3715</c:v>
                </c:pt>
                <c:pt idx="4">
                  <c:v>0.6948</c:v>
                </c:pt>
                <c:pt idx="5">
                  <c:v>0.6037</c:v>
                </c:pt>
                <c:pt idx="6">
                  <c:v>0.7136</c:v>
                </c:pt>
                <c:pt idx="7">
                  <c:v>0.7271</c:v>
                </c:pt>
                <c:pt idx="8">
                  <c:v>0.7947</c:v>
                </c:pt>
                <c:pt idx="9">
                  <c:v>0.6903</c:v>
                </c:pt>
                <c:pt idx="10">
                  <c:v>0.5305</c:v>
                </c:pt>
              </c:numCache>
            </c:numRef>
          </c:yVal>
          <c:bubbleSize>
            <c:numRef>
              <c:f>Sheet1!$C$2:$C$12</c:f>
              <c:numCache>
                <c:formatCode>General</c:formatCode>
                <c:ptCount val="11"/>
                <c:pt idx="0">
                  <c:v>1754.0</c:v>
                </c:pt>
                <c:pt idx="1">
                  <c:v>17159.559193954658</c:v>
                </c:pt>
                <c:pt idx="2">
                  <c:v>897.7777777777778</c:v>
                </c:pt>
                <c:pt idx="3">
                  <c:v>7625.128205128204</c:v>
                </c:pt>
                <c:pt idx="4">
                  <c:v>75823.49665924277</c:v>
                </c:pt>
                <c:pt idx="5">
                  <c:v>21416.964285714283</c:v>
                </c:pt>
                <c:pt idx="6">
                  <c:v>6750.3125</c:v>
                </c:pt>
                <c:pt idx="7">
                  <c:v>21518.936170212764</c:v>
                </c:pt>
                <c:pt idx="8">
                  <c:v>5644.0</c:v>
                </c:pt>
                <c:pt idx="9">
                  <c:v>68443.00636942674</c:v>
                </c:pt>
                <c:pt idx="10">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BE243F3-595C-4FAC-BF3B-A6777DDAE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7C60FB3-A9E7-4872-B12B-CB2FF4C3D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451F6B-D66F-4949-B83F-E455887E0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8B9E287-25F4-46A2-AFA1-3BCD0CDBB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6DF27D5-D4D5-4E8D-81A8-323C6B4B1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6C13487-2DC2-49C8-B844-41051C772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E33E60E-AD7E-415F-9546-00AEBF76D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EADB46B-BB91-41F5-98AB-8F6AAD3FE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DE4D68A-2604-4170-834F-452A36378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B7367D0-8F37-4A6E-B474-491D19081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FC43112-0128-47B7-8760-1DC09B5DA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6C1D247-A58A-4CD0-833D-E2C4F8DB7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AAB78E4-5CD8-41E6-8D66-E6D36114E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F5BF681-3AE6-4435-90FA-53FD3015A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4E25AF7-C8ED-4FE3-A768-14BA65AC3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4ECA115-3597-4F6B-AF9E-A167C83C6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C606EBE-DEE1-47CC-848F-77044ACC1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9C2149A-2B11-4D59-B0F1-CFB928C5D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F4D3F49-63EF-421D-904D-91402E2BC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81123BF-D288-497A-865B-678A504C3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0128AF-9275-45D8-ACB0-FDC087776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703949B-CC4D-47E8-9A30-764D87C0C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8F44A47-F43F-454E-BA2C-3E510E01B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DF126A8-3A78-4AB9-B160-E05721D2E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5518790-5E4D-4C82-B16A-DEE8E8A8E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A8CB56E-AD10-437D-B03C-3E67B91EA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FB4F072-50B5-4D93-95D0-19BA06F4F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5707DBB-6897-4A28-B83A-A290B659F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24BE41A-F9E4-46F2-AFE6-BF8BB0BF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C33338B-D031-47B2-ADD6-3D6135160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D29156D-5CD0-4DAC-BB14-B666C13F4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9BD8CC3-9127-48A2-9EF4-186A78047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0B6C20B-2B46-43C3-8F69-E1713162B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C6B2FC3-6BDA-4298-9164-37630650D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4648DE3-A08C-440B-B686-7A6612604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DE1E2E3-B003-401F-AF04-5D6708069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44AF8F0-DA1B-418B-A64D-DF3110616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C624CD9-FE43-4C6D-9E3C-AD174C9D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90B4428-6434-43DF-BB93-16C5B5A04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94DF49F-E049-4837-AA4F-AE7A750F9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BA61ADE-2D45-4CE4-9804-BD873773B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9DE610A-7A1A-4339-9B82-49E1278A6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4C40E27-01F4-4626-9C81-F480CAD54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6DA1DB5-B07D-42F0-A6FD-5FEDB3A33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0AAB8C2-4687-4485-99B8-CB5F7FED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C33D0BD-CDCE-486C-A256-7BFE2C656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C79581A-1DC5-4435-8072-B4DE33BB7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FA5F38A-EC7F-479C-B3CA-B352F01F5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B4B0E96-B19C-4728-9749-B92AEE30B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990E338-6EEA-4174-B3CA-AD903D334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AE74769-0C49-455D-AE53-A94EA8E5A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B055E4A-A3EF-4612-BEE5-030BA4840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9DCB525-6097-489B-9F6D-DBB21917E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BDE74FD-1AD9-4290-9CB9-81CFD2D04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75F1B13-980A-436F-8CAF-F361ECC17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C2B67AB-BB5A-47FA-BF09-3B7E0F4DC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3527C94-413C-45A9-875D-BF70848E9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51</c:v>
                </c:pt>
                <c:pt idx="1">
                  <c:v>0.4884</c:v>
                </c:pt>
                <c:pt idx="2">
                  <c:v>0.3987</c:v>
                </c:pt>
                <c:pt idx="3">
                  <c:v>0.4029</c:v>
                </c:pt>
                <c:pt idx="4">
                  <c:v>0.43</c:v>
                </c:pt>
              </c:numCache>
            </c:numRef>
          </c:xVal>
          <c:yVal>
            <c:numRef>
              <c:f>Sheet1!$B$2:$B$6</c:f>
              <c:numCache>
                <c:formatCode>General</c:formatCode>
                <c:ptCount val="5"/>
                <c:pt idx="0">
                  <c:v>0.7386</c:v>
                </c:pt>
                <c:pt idx="1">
                  <c:v>0.4198</c:v>
                </c:pt>
                <c:pt idx="2">
                  <c:v>0.6837</c:v>
                </c:pt>
                <c:pt idx="3">
                  <c:v>0.7091</c:v>
                </c:pt>
                <c:pt idx="4">
                  <c:v>0.7317</c:v>
                </c:pt>
              </c:numCache>
            </c:numRef>
          </c:yVal>
          <c:bubbleSize>
            <c:numRef>
              <c:f>Sheet1!$C$2:$C$6</c:f>
              <c:numCache>
                <c:formatCode>General</c:formatCode>
                <c:ptCount val="5"/>
                <c:pt idx="0">
                  <c:v>779.0</c:v>
                </c:pt>
                <c:pt idx="1">
                  <c:v>31615.113182423436</c:v>
                </c:pt>
                <c:pt idx="2">
                  <c:v>10233.439767779391</c:v>
                </c:pt>
                <c:pt idx="3">
                  <c:v>38536.181506849316</c:v>
                </c:pt>
                <c:pt idx="4">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D21C702-9ACE-46A3-AB09-8D2C0784E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8DBA239-6569-4FE2-91E9-3F7A77251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B0DC46D-FF27-4253-986F-677350382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92488A-8464-454C-B885-AAFC21CB4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F9AB171-1A48-469B-9B0F-D3471424E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BB99A67-F3AC-478B-9A8B-F83DFD67A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DACEA5-91CF-46AD-AE6C-831EF037C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51F7577-DADA-4FB8-8211-B7A506501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F727C72-F932-4FEE-8117-972C0E5D8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9699EB8-26FC-40DA-80BF-E82D51E28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22B3287-86C9-408D-8D6D-AA8AB4893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6F8A664-049C-476A-9419-B53EE3688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42A7661-39EE-4F0F-8CD2-F722D3A5B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B7848AA-9D80-403B-9F58-3958D5B19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9AD40BD-6701-4903-907F-614A48E8A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387B165-12A7-4CC4-8CE8-13B842B08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293541A-C1C2-4CCB-87F3-501340F09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83C2C28-C04B-44EA-8CB1-12822D0C1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BB5D77B-A32D-401A-B2D2-66642AD0A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1292A84-85BE-4A1E-B17F-8EC1C33C4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C0AE37D-1611-453E-A304-9AF406749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AE2013D-0735-4695-8638-DA6147E5D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ED24F99-38B4-445E-AA45-806FDB38C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F05DFA1-9C7C-43B8-BB99-372CE167C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E705D2E-DBE8-4B56-ABCE-81303F57C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2606CB4-BAE6-4323-BC95-BDD9BC612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821D73B-D908-4D04-AB6A-D25F27B4A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C274290-7804-452C-8906-48E8D924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DF93125-FFF7-4A33-B21B-9B3A23F27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341ECF2-39AD-4B87-9DF0-552594E73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C5E1B83-A943-45A1-92D7-FDA4826D5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AAA4426-EC3F-4BA0-9C7F-79E5FFC84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802B5C3-E676-4D19-9624-47A7361F4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D56BF9F-60E2-4C16-8EF3-C57BCF751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C514899-F319-491B-9B14-876820ECE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8F58C6D-6163-4ABA-A5F7-D2082D01F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6FB89D0-8F25-46FB-AFE4-D54371EBB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330B6D8-28E8-4D83-AAE3-F743FA63C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F53769E-996A-4736-8244-56CF7699E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070F818-0552-4F2E-85EA-B610DD40E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5E0C053-1C54-4267-83D9-ABD6CC271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41C4349-6E63-4389-B64F-F8823570A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67E7F75-417C-4D3F-BA95-7AD2AF8DF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56D2589-8B4D-4BCF-AA09-016281B96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2C11865-E4B6-40EC-BAF2-3D39D4DC6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F6D1894-DE6F-4A77-BE37-1FC5856A7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B5A34D6-24A3-46A1-A7A1-60BD2C8A1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FF287BB-1F3C-489E-95A6-2F9266863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4440CE4-FDA3-4EB4-A510-F9B639FE3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E3D54CE-23BF-4BD3-9E83-6B96E6AED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354E070-5DD1-4B0A-882D-2595EEFB5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E8C4C15-6C95-4777-A0B3-521FF0261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9B067A5-1FA6-4C80-944D-8E8CE4CBB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79F2E8D-E988-4E32-A553-A4171D635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58D134E-AE5A-4876-98D0-4FCA94453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86C6DCF-55B5-4DD9-B5DB-0F7593F57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46DCD87-66E0-4A04-8633-A92B723FB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61</c:v>
                </c:pt>
                <c:pt idx="2">
                  <c:v>0.3461</c:v>
                </c:pt>
                <c:pt idx="3">
                  <c:v>0.3702</c:v>
                </c:pt>
                <c:pt idx="4">
                  <c:v>0.3194</c:v>
                </c:pt>
                <c:pt idx="5">
                  <c:v>0.2951</c:v>
                </c:pt>
                <c:pt idx="6">
                  <c:v>0.3517</c:v>
                </c:pt>
                <c:pt idx="7">
                  <c:v>0.3496</c:v>
                </c:pt>
              </c:numCache>
            </c:numRef>
          </c:xVal>
          <c:yVal>
            <c:numRef>
              <c:f>Sheet1!$B$2:$B$9</c:f>
              <c:numCache>
                <c:formatCode>General</c:formatCode>
                <c:ptCount val="8"/>
                <c:pt idx="0">
                  <c:v>0.3363</c:v>
                </c:pt>
                <c:pt idx="1">
                  <c:v>0.5238</c:v>
                </c:pt>
                <c:pt idx="2">
                  <c:v>0.4895</c:v>
                </c:pt>
                <c:pt idx="3">
                  <c:v>0.6218</c:v>
                </c:pt>
                <c:pt idx="4">
                  <c:v>0.6295</c:v>
                </c:pt>
                <c:pt idx="5">
                  <c:v>0.6515</c:v>
                </c:pt>
                <c:pt idx="6">
                  <c:v>0.7677</c:v>
                </c:pt>
                <c:pt idx="7">
                  <c:v>0.6351</c:v>
                </c:pt>
              </c:numCache>
            </c:numRef>
          </c:yVal>
          <c:bubbleSize>
            <c:numRef>
              <c:f>Sheet1!$C$2:$C$9</c:f>
              <c:numCache>
                <c:formatCode>General</c:formatCode>
                <c:ptCount val="8"/>
                <c:pt idx="0">
                  <c:v>14944.044795783924</c:v>
                </c:pt>
                <c:pt idx="1">
                  <c:v>42879.101283880176</c:v>
                </c:pt>
                <c:pt idx="2">
                  <c:v>7261.435331230284</c:v>
                </c:pt>
                <c:pt idx="3">
                  <c:v>42642.53684210526</c:v>
                </c:pt>
                <c:pt idx="4">
                  <c:v>6803.554502369669</c:v>
                </c:pt>
                <c:pt idx="5">
                  <c:v>51342.777129521586</c:v>
                </c:pt>
                <c:pt idx="6">
                  <c:v>52579.06283280085</c:v>
                </c:pt>
                <c:pt idx="7">
                  <c:v>6009.7767857142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CFED174-7B24-4EED-814B-0D316D0E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4F51333-2006-4730-978C-7944DBF58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F0D5573-D494-462F-80A2-95DE1B121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097CC52-F5EA-4B37-A2DA-082FA5118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B1B7186-224C-4B84-BBC9-47360CA4C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6B2B6DA-9453-4ADE-B127-6E5F2AA69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D95A96F-A8EE-4B21-B9CA-4E0987D8C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1CBA2C6-5A30-47E7-8049-3C6FF30DD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542</c:v>
                </c:pt>
                <c:pt idx="1">
                  <c:v>1.7986</c:v>
                </c:pt>
              </c:numCache>
            </c:numRef>
          </c:xVal>
          <c:yVal>
            <c:numRef>
              <c:f>Sheet1!$B$2:$B$3</c:f>
              <c:numCache>
                <c:formatCode>General</c:formatCode>
                <c:ptCount val="2"/>
                <c:pt idx="0">
                  <c:v>0.6296</c:v>
                </c:pt>
                <c:pt idx="1">
                  <c:v>0.604</c:v>
                </c:pt>
              </c:numCache>
            </c:numRef>
          </c:yVal>
          <c:bubbleSize>
            <c:numRef>
              <c:f>Sheet1!$C$2:$C$3</c:f>
              <c:numCache>
                <c:formatCode>General</c:formatCode>
                <c:ptCount val="2"/>
                <c:pt idx="0">
                  <c:v>12656356.554299988</c:v>
                </c:pt>
                <c:pt idx="1">
                  <c:v>10147245.1986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5832"/>
          <c:min val="0.523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084014314736"/>
        <c:crossBetween val="midCat"/>
      </c:valAx>
      <c:valAx>
        <c:axId val="1011451359"/>
        <c:scaling>
          <c:orientation val="minMax"/>
          <c:max val="1.1155199999999998"/>
          <c:min val="0.2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6344005475865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4C0214E-B215-4F79-AEE0-7DFE37860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1E4E65C-C9BB-4ABE-9ADA-B9F9D793E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630B8C-3EAC-4187-8FC1-8457B16F3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B0A0B8-1355-482D-B5E9-F5520057F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2EFCA5C-DF81-4454-8AA5-125B0546E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EE9882A-69FC-4659-9E38-91F2BD275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9A3FD9-D014-49A4-8484-5206A4276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69B69AE-9F3F-436A-AC84-BE516C63C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5DF1F18-9B19-45CF-8D62-A6E5D1762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3B96E6B-2D95-4912-8A66-2A41F2805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A0224CA-B45B-4658-B326-2BD16496B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EED9622-4CFB-49CD-8DE1-1F48C4BEB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D9F8D29-D781-42F5-A86F-79047FE58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86A96F5-0A16-46AF-BF56-1E5EBD8DC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5FC796F-79BE-45F2-915D-EDABDFB19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1C81880-839C-406F-A721-7C9FF0B0B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1D64166-43E5-4F73-8EF0-D24CC304B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CA95A99-9392-48C7-864A-8A5012643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C738CDB-A317-4867-883F-A534B6029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8457EA4-7B87-465D-B928-C68FDF880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BF50B31-F4FE-4516-AB82-C7F9157C6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B5FB12D-7EE7-41C7-B017-EFF499A52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9A2ADDD-5274-42E7-B6D2-3A3389ADB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004A1BE-B974-4911-BB73-763969D78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55CA72F-CEC9-42B7-B829-6F0DA5346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699254E-C129-4837-A0F3-253150EB4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A60202D-40E7-40CF-8867-B6E3D2771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210B1B6-3CF5-4C22-AFF9-3CEF6EB0E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AA992D7-7E4A-4664-94AB-4615C6055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DCBC076-AC4E-4C1C-83D4-FD6D00C0C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BC3C09A-5543-4A00-A8A4-91F6EE1F3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DCAA4B9-DB27-44DB-8CA2-7453CFD66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87CD2DD-DB6C-4E96-A4C5-41A8A200D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C946431-845E-49C2-BD93-065CBD6B0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F48AEA4-DD14-47FA-90A3-32A68AEA6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83AEB0C-12EF-4B7C-B192-44D01FEEE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205FF22-0501-48F0-87AF-5D749829B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54971B2-F470-4A4C-8DEB-A79FC7B39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F07A22C-9C71-4B2E-8A30-4488203CC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B4DC289-F021-425B-8E30-4AE498537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ED83224-34B3-442A-8B9B-23138071F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393C0CC-5A3A-477D-9593-83E97B0EE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29A7AC1-55AA-4993-A8F0-BD2D5F834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E140FFE-2DA0-4434-8749-2921B1D61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A7E158F-D052-404E-9C0B-596C17966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9504AD3-F907-4C81-9247-624108E0E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B0B7C8F-DB5A-4290-8356-44AF09486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F7DC633-A575-4188-A96F-E09CE43E2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B5258B6-BEC8-449E-891A-D5CF1F814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77620BB-5FD6-4AE5-94FB-BD52E6264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D3CAD01-6DC8-44D8-9556-4398F6774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A8BF656-6547-469F-B812-2A0A53699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146242A-9896-46A4-91FD-373B6F722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CEE47DA-93A1-4CC9-9AF0-CFC44C398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22DC4B7-B1EA-49C0-B71C-C3881B1C8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2504DAA-1669-47A3-A4E6-0A85DB305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81166DF-A704-4251-B877-F431C710D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7</c:v>
                </c:pt>
                <c:pt idx="1">
                  <c:v>0.4473</c:v>
                </c:pt>
                <c:pt idx="2">
                  <c:v>0.5474</c:v>
                </c:pt>
                <c:pt idx="3">
                  <c:v>0.4477</c:v>
                </c:pt>
                <c:pt idx="4">
                  <c:v>0.299</c:v>
                </c:pt>
                <c:pt idx="5">
                  <c:v>0.4032</c:v>
                </c:pt>
              </c:numCache>
            </c:numRef>
          </c:xVal>
          <c:yVal>
            <c:numRef>
              <c:f>Sheet1!$B$2:$B$7</c:f>
              <c:numCache>
                <c:formatCode>General</c:formatCode>
                <c:ptCount val="6"/>
                <c:pt idx="0">
                  <c:v>0.4911</c:v>
                </c:pt>
                <c:pt idx="1">
                  <c:v>0.4934</c:v>
                </c:pt>
                <c:pt idx="2">
                  <c:v>0.4797</c:v>
                </c:pt>
                <c:pt idx="3">
                  <c:v>0.5165</c:v>
                </c:pt>
                <c:pt idx="4">
                  <c:v>0.0105</c:v>
                </c:pt>
                <c:pt idx="5">
                  <c:v>-0.0026</c:v>
                </c:pt>
              </c:numCache>
            </c:numRef>
          </c:yVal>
          <c:bubbleSize>
            <c:numRef>
              <c:f>Sheet1!$C$2:$C$7</c:f>
              <c:numCache>
                <c:formatCode>General</c:formatCode>
                <c:ptCount val="6"/>
                <c:pt idx="0">
                  <c:v>88856.37563451777</c:v>
                </c:pt>
                <c:pt idx="1">
                  <c:v>34693.635394456294</c:v>
                </c:pt>
                <c:pt idx="2">
                  <c:v>37190.41710114703</c:v>
                </c:pt>
                <c:pt idx="3">
                  <c:v>39700.24149286498</c:v>
                </c:pt>
                <c:pt idx="4">
                  <c:v>17923.486707566462</c:v>
                </c:pt>
                <c:pt idx="5">
                  <c:v>38983.2186234817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D7EE821-D206-425B-BC17-A49967DFD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9EEEE1E-851D-4372-BC0B-15B8C3C45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F183B6-97FB-4C31-BCE6-1B0D308D3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B32D476-AB46-4BB5-985F-A529A251B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62D4A02-FFD7-4235-831D-1E24DE4AF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796D31D-EFA1-4032-A0BC-E9B361607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3F55B9F-DA82-40FF-B25D-33FBBED51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358A658-86AE-4C54-A225-7287D1035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FE44E69-5104-4182-9EB7-B3F77D6F3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5E7274B-C6F2-4582-B768-8BA9101E6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67423DF-A563-4C70-80EE-41BF889E0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A9EF79-7FCF-419F-B406-090F794A7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38F0745-F8D0-47CC-827C-1507E3C99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7333747-2D41-4E21-9E52-E401E6A90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97FD36F-6EFD-4F98-A3C5-03FB38699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E63AEB5-7991-4C28-891F-60217369D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3757B67-A721-4B30-BCBF-A72DE1A08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D60CA1C-83AA-4F74-9057-DA2FBBE08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3519732-6663-4218-941C-7632B51E1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47A38F4-CB1A-4CEE-8CCB-3398C04C7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6656A84-12FD-4B0E-A6A8-9F79EF730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932D97F-EACF-4E6B-80F9-F7008AC9A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48E4885-F5A2-4FDA-A692-D9223C820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6BE7109-F25C-4409-8A29-B809E5BC4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6052486-C547-4690-A9A1-4D0579764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65A052F-B117-42B9-9B8A-A02F7613C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3863D98-091A-4458-842C-B5596DB71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D8957F1-4582-4486-A06D-245F99AC0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5702DDD-6D21-46A8-BD4B-8A62D346F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B451456-EC8C-4CCC-9582-32BB0EC5B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00ADA51-84C3-4EAD-8AF1-02BE86BB8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EA01A36-B783-4DB3-A490-CF9362A86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0BAA3A1-540C-40DD-A104-1534DE461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0A031C8-90D6-459E-8EC7-62527FC45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E957A08-6CC8-4666-8EC3-EE1E861F2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BE4D48F-4EC9-4B91-838F-76FB4AE1F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3662085-FDA5-45D1-AAE8-B77367A1B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437ED5E-B2A0-481B-B678-EC78C28FC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0C78248-1209-4275-8DC0-5A32AE316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9DEBA4C-6161-4E40-9AEC-D7A1896D3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80D6389-800F-4D46-920B-B804810DE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4B1377A-7027-43B1-B330-54DB8B392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3A39F1E-2ECB-4BB2-B1B8-D51B834A8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B6AB59E-B31E-4040-A17E-AFE6FF734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FE5D94D-6416-4819-BA70-597A85BA6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02380D4-1120-49A7-A0CC-F13242E72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5C8F6DE-5E1C-456E-8B8E-F880413E2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B46C849-CBFD-454F-AFCC-C63E82927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81537DB-2852-41BC-946C-D3364AA15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9851D8B-CEEE-494A-9C84-71574D0F7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31E4139-76C7-470D-8B43-C29D27282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DA079C2-48EE-4C51-BD75-91B0A76CB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D3947A4-DB66-4AD9-8C91-A5F167AEA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2A136F1-E890-4EF9-B368-70939E70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909DDE9-8E54-49C8-A4EC-96A13AE90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ACEF11F-5B87-492D-9242-CFF9F7851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64282AD-EDBE-483E-ADBC-E7990538F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c:v>
                </c:pt>
                <c:pt idx="1">
                  <c:v>0.368</c:v>
                </c:pt>
                <c:pt idx="2">
                  <c:v>0.3539</c:v>
                </c:pt>
                <c:pt idx="3">
                  <c:v>0.3752</c:v>
                </c:pt>
                <c:pt idx="4">
                  <c:v>0.327</c:v>
                </c:pt>
                <c:pt idx="5">
                  <c:v>0.301</c:v>
                </c:pt>
                <c:pt idx="6">
                  <c:v>0.3579</c:v>
                </c:pt>
                <c:pt idx="7">
                  <c:v>0.3568</c:v>
                </c:pt>
              </c:numCache>
            </c:numRef>
          </c:xVal>
          <c:yVal>
            <c:numRef>
              <c:f>Sheet1!$B$2:$B$9</c:f>
              <c:numCache>
                <c:formatCode>General</c:formatCode>
                <c:ptCount val="8"/>
                <c:pt idx="0">
                  <c:v>0.3363</c:v>
                </c:pt>
                <c:pt idx="1">
                  <c:v>0.5237</c:v>
                </c:pt>
                <c:pt idx="2">
                  <c:v>0.4895</c:v>
                </c:pt>
                <c:pt idx="3">
                  <c:v>0.6218</c:v>
                </c:pt>
                <c:pt idx="4">
                  <c:v>0.6295</c:v>
                </c:pt>
                <c:pt idx="5">
                  <c:v>0.6515</c:v>
                </c:pt>
                <c:pt idx="6">
                  <c:v>0.7677</c:v>
                </c:pt>
                <c:pt idx="7">
                  <c:v>0.6351</c:v>
                </c:pt>
              </c:numCache>
            </c:numRef>
          </c:yVal>
          <c:bubbleSize>
            <c:numRef>
              <c:f>Sheet1!$C$2:$C$9</c:f>
              <c:numCache>
                <c:formatCode>General</c:formatCode>
                <c:ptCount val="8"/>
                <c:pt idx="0">
                  <c:v>874.0</c:v>
                </c:pt>
                <c:pt idx="1">
                  <c:v>3373.205882352941</c:v>
                </c:pt>
                <c:pt idx="2">
                  <c:v>574.65625</c:v>
                </c:pt>
                <c:pt idx="3">
                  <c:v>3032.8736842105263</c:v>
                </c:pt>
                <c:pt idx="4">
                  <c:v>506.07142857142856</c:v>
                </c:pt>
                <c:pt idx="5">
                  <c:v>3945.977011494253</c:v>
                </c:pt>
                <c:pt idx="6">
                  <c:v>4372.0</c:v>
                </c:pt>
                <c:pt idx="7">
                  <c:v>413.272727272727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7EFAE38-BC43-414F-A14F-0B8E730E9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76C9B2D-1785-4F2F-8B4D-5B6B04AA8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98E07C8-5FBD-471F-AD12-0DB08F1C1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64DCEAC-5CBE-4AA5-9C41-E0C6A6FE6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F41B2CF-57BA-4714-8F68-8DC891027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531CA7-DC98-42A5-A326-7223A96C6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BF853DF-DE96-40FA-A449-22876EDF1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4A9F604-24E4-44B5-BFB1-42A1E86A2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FDF92B7-A8D8-4CC5-ADC0-F3C523497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F280C4A-E1DC-4E0A-8F2B-EE4628136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565EBDB-6338-4A28-9C71-FB60427C3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1F5B56-8263-41D5-9F3B-34DB445C9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289106F-1CA6-4259-B64D-A5F990FB5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609B6C1-332A-4BD3-AD8A-1E85F6E07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A6836E9-3B9C-4611-B9DB-4644186D5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91E6203-F7A2-4C89-AA8B-053BA800D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71619D2-8BCE-4987-B521-F1ABB12F1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98F68CD-6B3D-4752-A1FE-D6E1F455D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2F3E481-1942-473C-A3DE-9FBC53D95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0D7804C-0925-42B2-8CAC-4703C2E83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74DE52D-1BE1-4FAF-9620-E27BAA86C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EB99E08-F997-4B5A-A115-1F3CBE8E6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D73EFAD-2415-47C5-9377-625CA8932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43E7CB7-6040-4FA0-9CB4-C125C3296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44E1CD6-0E0F-433D-B69E-B5C26562D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5588F7E-2206-4AC5-8384-987B70233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6108A8A-04C6-4992-A9BA-95277D59A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501C117-FB59-4E4B-838F-AC33BDA7D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EF4B889-49C8-4C03-971D-D0D76B27E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9DCF5E6-76D9-4B3B-BA28-87330AFFC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7B5A3E7-8BB7-4839-8DAE-630B402FD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2448098-0348-4C1F-B1DD-C90403234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39D6291-DE20-49C0-B64D-89EA286F0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5B2C4C9-3A45-42AE-B807-C3A7EFE90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0E5E6A0-1644-4F58-9416-1517B2020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FEF65E2-8578-4098-9180-A2474C80C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62A36CB-0720-4E11-813E-2135DDBF9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8F8F987-C61A-43E0-B06F-26EB5FB4A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B152FE3-42AC-4318-937B-89B998B40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C2AA1C0-0510-4F02-8612-7C1779466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3A51A34-EE47-473E-8847-CAA5E0EB1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F7FDB7D-C90F-4796-A1F7-7DCDFB4B4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9F16EEB-7973-440A-B602-3DFDB06F9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8B3DE29-AD50-41D1-A498-CE210DA0B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74971DA-3B10-470D-A01F-335A98362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B345903-C3FE-4326-B010-4F019F213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37140C7-6793-46C6-ABB4-CF97A78EF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1949534-BD51-46B9-BD2B-D2F1D1FF7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A5FB505-C06A-44D0-A23B-A8D821DD5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BA0E610-DD81-40BE-BF2F-679E9F074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5031BEB-6F33-4709-B29B-439565A23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91CABD3-08D0-4D0D-A0EB-633574153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18E38F9-40F0-41CC-BA21-629EC2758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A39C308-CEEE-412E-B043-F527FC816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1D1994A-1305-4AB5-8CC1-69CBE7DBE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04A9EED-9241-42AB-8A0D-DB5CDEDBA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A5212D5-9781-4915-BDB9-8757E8065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87</c:v>
                </c:pt>
                <c:pt idx="1">
                  <c:v>0.4532</c:v>
                </c:pt>
                <c:pt idx="2">
                  <c:v>0.5509</c:v>
                </c:pt>
                <c:pt idx="3">
                  <c:v>0.4479</c:v>
                </c:pt>
                <c:pt idx="4">
                  <c:v>0.3088</c:v>
                </c:pt>
                <c:pt idx="5">
                  <c:v>0.4033</c:v>
                </c:pt>
              </c:numCache>
            </c:numRef>
          </c:xVal>
          <c:yVal>
            <c:numRef>
              <c:f>Sheet1!$B$2:$B$7</c:f>
              <c:numCache>
                <c:formatCode>General</c:formatCode>
                <c:ptCount val="6"/>
                <c:pt idx="0">
                  <c:v>0.4911</c:v>
                </c:pt>
                <c:pt idx="1">
                  <c:v>0.4934</c:v>
                </c:pt>
                <c:pt idx="2">
                  <c:v>0.48</c:v>
                </c:pt>
                <c:pt idx="3">
                  <c:v>0.5166</c:v>
                </c:pt>
                <c:pt idx="4">
                  <c:v>0.0104</c:v>
                </c:pt>
                <c:pt idx="5">
                  <c:v>-0.0032</c:v>
                </c:pt>
              </c:numCache>
            </c:numRef>
          </c:yVal>
          <c:bubbleSize>
            <c:numRef>
              <c:f>Sheet1!$C$2:$C$7</c:f>
              <c:numCache>
                <c:formatCode>General</c:formatCode>
                <c:ptCount val="6"/>
                <c:pt idx="0">
                  <c:v>6191.265306122449</c:v>
                </c:pt>
                <c:pt idx="1">
                  <c:v>2490.9578947368423</c:v>
                </c:pt>
                <c:pt idx="2">
                  <c:v>2380.074468085106</c:v>
                </c:pt>
                <c:pt idx="3">
                  <c:v>2854.177777777778</c:v>
                </c:pt>
                <c:pt idx="4">
                  <c:v>1268.8556701030927</c:v>
                </c:pt>
                <c:pt idx="5">
                  <c:v>3147.91919191919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A29534D-C1A7-4A52-A308-7575F6FD3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2C344D1-8B4A-4990-8565-6C90D8830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905B93-3057-4CA5-83B6-1155AA797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271702-27E2-4DC4-AA71-660E0CA37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AD7D48F-9D1E-471D-B49F-1EE674E4C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02CD8A4-1F6A-49D6-BD11-729C88364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5649815-00FB-4E7B-8A0C-AFC573C9B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6A63F81-7576-4D13-B3AF-4D0C3CDFC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BECFDD5-B7B1-4531-B735-8F8CAE251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9C1BB23-375B-4F43-B199-54E3C396E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A5136DF-3FE0-46AD-BA39-148E20461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1810E0B-6DD4-4597-8D94-0CCFE4FDB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A630573-5BDC-4922-896E-14E9649EE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A6A972D-4DBF-4C7F-9830-29C5ECE03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C3B2CFE-C061-45BE-B6AF-01CD67D78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F9B01DD-DCEF-4EA0-8724-7C32BC33D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6DF40C4-2616-47FF-878D-5945188D1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03C7B68-E9C7-48B0-BE7A-576BC51C3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E76F30B-6338-427E-A25F-F2EAA2A40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310F050-9BA4-425F-95DD-E5DCEB331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42AE5CB-D1F8-44A7-AC64-0B73117E9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2E3A1D9-DE7E-4526-B8F2-AD24C26D3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4933CE9-26EE-4D1C-ABD1-9CB9F692B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4725D12-7929-4682-AB8C-BDD54F1CD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43F7697-8D52-431C-BA99-FA8D89C03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D3FC7B2-A66E-499C-9244-D64ACF2ED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73765C7-E4D3-45F2-878B-A9793CFF0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302653D-6BE2-4CCC-B414-BF0EDDA46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978009F-596A-43B2-9035-2C09EB2EE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3BC0BCD-7D6E-47A5-8574-DF4C32DD0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66F55BD-4A64-43D7-B58E-F5F6CB72B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1AFB6DA-6B22-4562-AF52-BD35B023B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EF9594B-F967-49E7-916D-0F18B8EB6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539E1F5-34DB-4596-87E7-7D8ECE9E0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4ECC27A-2E24-4031-847C-676338189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99E7CC4-2EF8-46B7-9608-61036701F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FAA557C-3B9D-40C7-BE02-B62D68837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DDE1C61-0189-4740-8135-64775385F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3ADC212-58AB-4145-AA65-5F592CA3E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77EA124-5E51-4EC3-9E17-48AA7F07B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8B88867-1262-4A3F-BEC0-0C92D92A5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DDB16A7-0E76-4D8E-BA92-EF2EE1CA8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A4277C0-55B2-45ED-A381-EBC882067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115C0F9-6E8A-4A24-973A-03BEA6E4E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AA68457-8B04-4A0D-92AF-F58A7558E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02692C5-1B3E-4886-BE2B-7F1FA2D9D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4325594-6D38-46EE-B3AD-579101ABE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3AFAA1D-8B3D-4497-A5BF-C8228C694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CE5A876-D194-4E3D-BDBA-CAAFB4E2B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1174E8C-136F-46A6-8CF4-5C9315432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FA0A143-6873-4964-AF0B-ED3D511BD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270B10E-5CC1-4689-9E17-A6ED7B107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308EF80-D689-49E0-BFFF-23EE63655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D5585A1-0052-4D48-B82B-7C410C970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C7DB0CF-F1B9-475F-8F15-3D16979F3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AAA0B68-998B-4415-83CA-2B15DFDF7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C1F9535-3B36-4919-8859-6F87AB558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585</c:v>
                </c:pt>
                <c:pt idx="1">
                  <c:v>0.3458</c:v>
                </c:pt>
                <c:pt idx="2">
                  <c:v>0.3705</c:v>
                </c:pt>
                <c:pt idx="3">
                  <c:v>0.3215</c:v>
                </c:pt>
                <c:pt idx="4">
                  <c:v>0.2958</c:v>
                </c:pt>
                <c:pt idx="5">
                  <c:v>0.3532</c:v>
                </c:pt>
                <c:pt idx="6">
                  <c:v>0.3506</c:v>
                </c:pt>
              </c:numCache>
            </c:numRef>
          </c:xVal>
          <c:yVal>
            <c:numRef>
              <c:f>Sheet1!$B$2:$B$8</c:f>
              <c:numCache>
                <c:formatCode>General</c:formatCode>
                <c:ptCount val="7"/>
                <c:pt idx="0">
                  <c:v>0.5245</c:v>
                </c:pt>
                <c:pt idx="1">
                  <c:v>0.4895</c:v>
                </c:pt>
                <c:pt idx="2">
                  <c:v>0.622</c:v>
                </c:pt>
                <c:pt idx="3">
                  <c:v>0.6295</c:v>
                </c:pt>
                <c:pt idx="4">
                  <c:v>0.6518</c:v>
                </c:pt>
                <c:pt idx="5">
                  <c:v>0.7677</c:v>
                </c:pt>
                <c:pt idx="6">
                  <c:v>0.6351</c:v>
                </c:pt>
              </c:numCache>
            </c:numRef>
          </c:yVal>
          <c:bubbleSize>
            <c:numRef>
              <c:f>Sheet1!$C$2:$C$8</c:f>
              <c:numCache>
                <c:formatCode>General</c:formatCode>
                <c:ptCount val="7"/>
                <c:pt idx="0">
                  <c:v>4859.933333333333</c:v>
                </c:pt>
                <c:pt idx="1">
                  <c:v>743.5416666666666</c:v>
                </c:pt>
                <c:pt idx="2">
                  <c:v>3557.604938271605</c:v>
                </c:pt>
                <c:pt idx="3">
                  <c:v>609.5901639344262</c:v>
                </c:pt>
                <c:pt idx="4">
                  <c:v>5031.307692307692</c:v>
                </c:pt>
                <c:pt idx="5">
                  <c:v>4400.727272727273</c:v>
                </c:pt>
                <c:pt idx="6">
                  <c:v>536.436619718309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E6EBBBC-8335-43FC-A03A-75DE6BE61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D1C6ABB-12BE-4FF6-BE84-E2E3FC479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09BC5C9-8BE8-42BF-B4CD-CF31333EC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62A326B-A5B4-471A-B783-7A88C2B2A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55CC6CF-3842-47B4-9D16-BB2AEEFD3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5B59D19-9002-43C9-A24B-BD36B5B5C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FB818BB-6D8E-42F3-8793-022626AB0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810185B-6B4C-421D-96DE-D9E1AAE72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F219D33-F566-4BCE-93DB-E630CF601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47BF2F9-61BF-4EAE-AD47-56ED55FAF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D8F9D13-B645-4B91-9A11-BC6883BB7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978E75-E898-4952-9D07-5DD5784DF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1C37921-03AF-42BD-8BC4-3F25AB144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3959A55-DA99-4B2C-9B65-93AC747EE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311A80F-EBB8-492D-A756-140DCEA2F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3231E7C-8228-4CD1-BFE7-7C2D94C1D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5E1D243-24F8-49D1-BA5B-0890FDFED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31C8B6A-C7A1-4344-8CD1-B0A471A05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4A083C0-D64D-4E4E-B045-BEE829987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C31422C-F16E-4CCD-A527-499C2E409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EE83632-F710-4717-9D31-857248092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69C5C9E-B28F-4851-ABF3-16B7EBA89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8376B84-18E8-4987-9F5E-621C84746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A06C9FD-B0A3-4F5E-8BCD-774FD3A16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BC03CBD-A5F2-45BA-925C-29E29C529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6168E1B-A3EC-4522-8C3B-9438748CE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1BF5FB8-944E-4E32-A7D9-C62988EB0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3E41FA0-6336-4D25-B8C0-742FC14B3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7EF3908-6F8D-429E-B25C-BB4F479E8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C0A83C7-84CD-46AD-9AA4-4A08813F2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9128A4F-0483-4A6D-9A53-8824ED047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0B6307B-6D42-4978-A647-B79860794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B60C953-6CE8-455D-B1E0-F815B603D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9EC8DCC-C78D-4FE2-BD53-69B068910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2D407D-5E3B-4AA2-A8E1-5301D8617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1F9551D-BCAA-4BEB-9314-3AC5AAA7F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670F1BE-7E7A-416B-9CDC-A563D2CA4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2D94D98-A79E-46EA-BD52-6F9400CAB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6808FD6-A0FF-468C-9CBB-347444FE9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B82DC67-F824-46D6-B34B-9C98C65AB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27C7F8C-13D6-434C-9864-459F49DC1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5A184B7-D411-4830-A933-FB6CEF9B9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49E1B63-9316-4415-813B-B64E616B7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6B0A178-F083-49D1-AC16-8B0E22610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D2D0F1B-74BB-4A73-B53A-0771DAA8B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A9951F5-3584-404F-9860-0BEC1BB11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4A50AFE-B4F5-4A6A-A182-CEBD10EC8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7A3F12C-C37F-42CC-B2B3-4FBA32C0A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23EF47E-9B45-4B67-BE05-E52FD9BC6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9A5FC01-33D5-436F-8FB0-98E962CAA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8EC383D-0B06-4325-A3E0-32983F820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A917A2D-05EF-4362-9862-EFAE09734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DE92C10-177B-405B-8C49-411B010C3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BAA41FA-BCAD-475A-A5DA-A2F37D4E2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A52DC51-CAF9-46A3-A30F-52D27D713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168C3DE-F3C1-4E79-9718-5B9E2122E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9F0620C-825D-4902-AE35-934FBB11D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44</c:v>
                </c:pt>
                <c:pt idx="1">
                  <c:v>0.448</c:v>
                </c:pt>
                <c:pt idx="2">
                  <c:v>0.5479</c:v>
                </c:pt>
                <c:pt idx="3">
                  <c:v>0.4473</c:v>
                </c:pt>
                <c:pt idx="4">
                  <c:v>0.3031</c:v>
                </c:pt>
                <c:pt idx="5">
                  <c:v>0.4032</c:v>
                </c:pt>
              </c:numCache>
            </c:numRef>
          </c:xVal>
          <c:yVal>
            <c:numRef>
              <c:f>Sheet1!$B$2:$B$7</c:f>
              <c:numCache>
                <c:formatCode>General</c:formatCode>
                <c:ptCount val="6"/>
                <c:pt idx="0">
                  <c:v>0.4909</c:v>
                </c:pt>
                <c:pt idx="1">
                  <c:v>0.4936</c:v>
                </c:pt>
                <c:pt idx="2">
                  <c:v>0.4789</c:v>
                </c:pt>
                <c:pt idx="3">
                  <c:v>0.5158</c:v>
                </c:pt>
                <c:pt idx="4">
                  <c:v>0.012</c:v>
                </c:pt>
                <c:pt idx="5">
                  <c:v>-0.0022</c:v>
                </c:pt>
              </c:numCache>
            </c:numRef>
          </c:yVal>
          <c:bubbleSize>
            <c:numRef>
              <c:f>Sheet1!$C$2:$C$7</c:f>
              <c:numCache>
                <c:formatCode>General</c:formatCode>
                <c:ptCount val="6"/>
                <c:pt idx="0">
                  <c:v>5807.010989010989</c:v>
                </c:pt>
                <c:pt idx="1">
                  <c:v>2923.9189189189187</c:v>
                </c:pt>
                <c:pt idx="2">
                  <c:v>2862.6341463414633</c:v>
                </c:pt>
                <c:pt idx="3">
                  <c:v>3479.353846153846</c:v>
                </c:pt>
                <c:pt idx="4">
                  <c:v>1727.178947368421</c:v>
                </c:pt>
                <c:pt idx="5">
                  <c:v>3081.30526315789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5708B42-033D-4477-A2DB-751141379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E6DB315-1116-485C-9B1F-06C24C9B6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A5604E-E905-40DF-8936-47F259B01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F81B03E-35C2-4B79-809F-65C968BAB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02D6B84-6BD8-4FEE-B5CB-44F406F86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78698CB-821F-4E00-B2B9-E97D8F7EB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FCB87F3-C73B-4E30-A33A-FB55F7CB0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10E881-0394-45D8-94C4-C2018FE62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C74DE8F-9DE9-4818-9A41-73BD4E7A1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6ED0337-F357-4686-B24C-1A61F9C48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2CE5E11-53F1-4A59-AADF-755182340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B74256-C108-48B6-AA86-1EA949099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83455FB-15C5-497B-A927-CD0550715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A7B474D-5BA7-4B53-A812-64A21EE9E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8E62C54-057D-48C5-8C79-836CA38E7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0671E77-D3AC-4591-B388-012021FA3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DC2AE7C-D4E5-4051-B1D0-B19392276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7FEDED6-4307-4372-8A8F-D626B7F3E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8B3F8B7-D25A-43CE-90AB-D693D6287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BBCBB82-D358-4E8C-BE5B-00A0C0AAA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C795520-5940-4C18-B7DD-EF7A9AA8B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9046177-1A4D-4A94-AF21-4E0151F7A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8376F1C-01ED-479E-8D37-FE17C21E6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107DB2C-DB72-4B97-896C-BD08A4F71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CE568B8-33BE-48E1-A387-9D9853B8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AFED328-A919-4E36-A8B2-57EA07DEC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A784104-CF6A-4E96-9ED7-6026BC069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948AC2C-756D-455C-96BB-71B008DC0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55671C6-81DD-4C79-83C4-E4DF88623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F5BA6FA-E3AE-4D0A-9D59-72F15C3A1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47B849B-0D4F-4B63-908D-83A93F2C5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4A9411C-A580-44DA-A465-4B572E49E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46DCBA0-47A6-4001-AA23-9E1F5CDCB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C2DA63C-59A1-4F7D-B9E8-B241DF580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EA67DF5-C635-4000-B7EB-D4CB8CB17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33CADA2-EBBF-40F5-BFBF-B68FCC918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C421E44-F627-49E7-8412-AD816345F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B6E640D-0834-4318-8F25-2A1A2518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1319996-36FD-469A-AFB4-7874FF149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369C6AA-23EA-489C-B29E-FDCE75CB9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086460C-676E-4000-89E1-EA448124B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BB90275-F12D-47CA-AC16-7CB1BB993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A806DD9-2A58-4E29-9899-DE677E63E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C2CF5A5-836A-4560-A6CD-5E0A0A083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26E7C0B-02C3-4C89-8F6F-69CFC86D7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DA6479F-BFB5-434B-B22F-6131CFDC5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624246A-A5A7-4B52-90B1-66828236D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84F5293-C240-4EEB-A501-13C7FB79A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CC64398-861E-4F17-8492-DAD916756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3D30C6A-684C-427B-B5F0-2D1B0FB95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D6792CE-EC90-4A55-B2D1-4587D91A6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D551F94-1778-45D5-A6B0-118B89249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D5BC4BC-CA16-4A2F-B3E3-49DE14D96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5DC2A1B-1B43-4A2E-89E0-92C49B79F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7185158-B2DD-4884-A884-E81298ECB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B210B04-F086-4B60-B4A3-C5A0C0171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F9D9403-E6B8-4D60-9DED-8F4F177DF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c:v>
                </c:pt>
                <c:pt idx="1">
                  <c:v>0.3605</c:v>
                </c:pt>
                <c:pt idx="2">
                  <c:v>0.3455</c:v>
                </c:pt>
                <c:pt idx="3">
                  <c:v>0.3698</c:v>
                </c:pt>
                <c:pt idx="4">
                  <c:v>0.3185</c:v>
                </c:pt>
                <c:pt idx="5">
                  <c:v>0.2945</c:v>
                </c:pt>
                <c:pt idx="6">
                  <c:v>0.351</c:v>
                </c:pt>
                <c:pt idx="7">
                  <c:v>0.3489</c:v>
                </c:pt>
              </c:numCache>
            </c:numRef>
          </c:xVal>
          <c:yVal>
            <c:numRef>
              <c:f>Sheet1!$B$2:$B$9</c:f>
              <c:numCache>
                <c:formatCode>General</c:formatCode>
                <c:ptCount val="8"/>
                <c:pt idx="0">
                  <c:v>0.3363</c:v>
                </c:pt>
                <c:pt idx="1">
                  <c:v>0.5237</c:v>
                </c:pt>
                <c:pt idx="2">
                  <c:v>0.4895</c:v>
                </c:pt>
                <c:pt idx="3">
                  <c:v>0.6217</c:v>
                </c:pt>
                <c:pt idx="4">
                  <c:v>0.6295</c:v>
                </c:pt>
                <c:pt idx="5">
                  <c:v>0.6514</c:v>
                </c:pt>
                <c:pt idx="6">
                  <c:v>0.7677</c:v>
                </c:pt>
                <c:pt idx="7">
                  <c:v>0.6351</c:v>
                </c:pt>
              </c:numCache>
            </c:numRef>
          </c:yVal>
          <c:bubbleSize>
            <c:numRef>
              <c:f>Sheet1!$C$2:$C$9</c:f>
              <c:numCache>
                <c:formatCode>General</c:formatCode>
                <c:ptCount val="8"/>
                <c:pt idx="0">
                  <c:v>12997.022988505747</c:v>
                </c:pt>
                <c:pt idx="1">
                  <c:v>36036.28767123288</c:v>
                </c:pt>
                <c:pt idx="2">
                  <c:v>6147.757575757576</c:v>
                </c:pt>
                <c:pt idx="3">
                  <c:v>36195.333333333336</c:v>
                </c:pt>
                <c:pt idx="4">
                  <c:v>5750.290697674419</c:v>
                </c:pt>
                <c:pt idx="5">
                  <c:v>42870.58620689655</c:v>
                </c:pt>
                <c:pt idx="6">
                  <c:v>44077.36842105263</c:v>
                </c:pt>
                <c:pt idx="7">
                  <c:v>5099.13186813186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EEBFD64-3774-4F49-8A25-7B1189308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F8893BE-333B-4B9B-9051-3D897A617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4FC93E-1EE8-4C24-A050-36F9518A6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64EF7C-AC74-4B2D-9B80-DF47B7667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983A2D4-1AA5-4D0E-A4C0-836A2657D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755B104-0D9C-4315-81CF-67053B31B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9E363DF-3217-4443-A5BF-4215F3712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83106B6-1659-4CE5-A6EA-F4180419F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277F008-D597-4413-A7BF-04DED739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E5275AC-652F-4EAF-ADF9-EA0462A9E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FCB2CFC-FE47-49A6-88A0-D0F0F689A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7EEDCED-EB7D-4A71-9BA1-F5C43AFB5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1F76823-F568-4607-ACAE-3EEC74D95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F22283F-16A1-469B-B6C8-F8CEC02D5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0421469-4E22-4FD0-8367-3260EE2BE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5C84B14-2593-4A60-8B5E-63552CA40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2A51E08-2FE7-4313-8855-8F64B145B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519AB10-A3BC-406D-94ED-C1A3EC21F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60E269A-6644-4F2C-B95C-98F6760D3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7FCAF09-A762-4F81-B0B1-C6B257FA7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D6D68DF-122D-4469-BB6D-934E30A09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B81A878-4789-4C8E-B40A-78E295B23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F1C17D7-1992-48EB-86A1-67F8B988F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BD4C9DC-91FC-4EF7-864C-0B9F81D68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8B638E5-0143-4FB5-9FE5-58BCDD450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3B9CD09-1DCF-408E-A4EC-D3900420B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1B38CA0-D314-440D-A185-32293EAAF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E966063-5E6F-4EBB-A3ED-62BE36C8E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6C507DC-2B5E-4C3D-9063-ABEA47B15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9EEE6F4-71F6-4BD6-B604-D6493F65F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430F508-81BD-4A0E-A230-60C615E67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390DCD5-DDC0-4387-8AA5-BAA0FF889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94C3355-8BB9-4A12-9C54-B0C6F482C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195286B-547A-445D-BAD3-A197091C9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CC32FEF-26D0-4F93-BBB5-D8BC2B2E3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1E699A9-0E5B-4E9E-A94F-7D63050D4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241F368-A178-445D-A78F-EA2FA7EF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A05EA42-201A-4F6A-8AC0-309268407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A361F29-E191-41BD-81DE-A9963A1AA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A0E9FF1-C973-4398-A0FD-8F7F1C2F5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F9FADE4-8BCD-4616-8FCA-D437D059B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960411C-B8A6-42A5-9337-FED55296C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528E0A9-912F-404F-BF3F-EADBA34C9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E9DB965-3B13-4050-A23E-7EEDDF905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D70A4EE-2AD4-4FF9-8FD5-79BE05590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24A990A-E756-4878-9AAF-5C092B803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1877D28-737D-42BF-9CFC-5C48B5837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6188F08-4686-46FF-9BE9-C81E645EC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64CE0F9-B6CE-40F4-823C-905FAD5B1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20D9CD3-307B-46EA-8DD3-0F2059173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3FB71F2-2483-4C76-9509-92C4305B6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49ADB7D-CBCD-46D6-96D4-2020BDBB3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B376235-F7CD-43BB-BE37-BB6B9BFFD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8A33E1E-FFDB-45A6-8A1E-2D069D43A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C49716C-B0AB-4DFE-B506-CFABFC811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B684ECC-75DA-4F5E-9410-6087C8719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30F67B9-6A05-414C-8953-24626F034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3</c:v>
                </c:pt>
                <c:pt idx="1">
                  <c:v>0.4467</c:v>
                </c:pt>
                <c:pt idx="2">
                  <c:v>0.5471</c:v>
                </c:pt>
                <c:pt idx="3">
                  <c:v>0.4478</c:v>
                </c:pt>
                <c:pt idx="4">
                  <c:v>0.2977</c:v>
                </c:pt>
                <c:pt idx="5">
                  <c:v>0.4032</c:v>
                </c:pt>
              </c:numCache>
            </c:numRef>
          </c:xVal>
          <c:yVal>
            <c:numRef>
              <c:f>Sheet1!$B$2:$B$7</c:f>
              <c:numCache>
                <c:formatCode>General</c:formatCode>
                <c:ptCount val="6"/>
                <c:pt idx="0">
                  <c:v>0.4911</c:v>
                </c:pt>
                <c:pt idx="1">
                  <c:v>0.4934</c:v>
                </c:pt>
                <c:pt idx="2">
                  <c:v>0.4798</c:v>
                </c:pt>
                <c:pt idx="3">
                  <c:v>0.5166</c:v>
                </c:pt>
                <c:pt idx="4">
                  <c:v>0.0104</c:v>
                </c:pt>
                <c:pt idx="5">
                  <c:v>-0.0026</c:v>
                </c:pt>
              </c:numCache>
            </c:numRef>
          </c:yVal>
          <c:bubbleSize>
            <c:numRef>
              <c:f>Sheet1!$C$2:$C$7</c:f>
              <c:numCache>
                <c:formatCode>General</c:formatCode>
                <c:ptCount val="6"/>
                <c:pt idx="0">
                  <c:v>76941.12121212122</c:v>
                </c:pt>
                <c:pt idx="1">
                  <c:v>29486.863157894735</c:v>
                </c:pt>
                <c:pt idx="2">
                  <c:v>32042.24742268041</c:v>
                </c:pt>
                <c:pt idx="3">
                  <c:v>33695.24731182796</c:v>
                </c:pt>
                <c:pt idx="4">
                  <c:v>14956.69387755102</c:v>
                </c:pt>
                <c:pt idx="5">
                  <c:v>32799.7373737373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14E8BAA-3492-438B-BBD9-E7EB200C0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A48CA78-19F6-4264-8847-E95ABADD3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8C0516-C9D4-4012-8858-A3BB0DE72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B2FAC5-C443-49CA-9F15-E51B504F3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0353994-8361-4C23-B3DA-349151DFF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8F5E84A-D81B-411A-A764-57EDAB7C2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91209B1-A889-4655-BD08-A0F585591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57AC5D4-1DFE-4AFE-990E-172B1B4EE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F0A72ED-33A8-4BB4-982D-FB4596FE4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0DB23BE-6B11-46CE-946A-E1A1F28DA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FB3150C-C731-4CF8-AEE0-4F3A2C77D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F81A351-5DB5-4CBA-9101-F0919C13C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D04E807-C728-4E0A-B0D9-3917AAFD3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F8E006-B5DB-4B42-A8CB-0DDC1FF6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B606CF9-EBFD-4E75-B3BE-AF141B896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9A272FD-0EF0-468C-8305-7E85BE362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ED3DC14-A61E-4039-BF57-872EF2FDC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08C96C1-DCF0-4970-86D4-F26F92341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13765D0-D7D0-4415-BDB4-2238D996A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3CB4AB0-67FF-4F64-BF93-71DAD3CF1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9778F6E-0D67-4816-8D13-4EC7BCEAA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C5D5858-2D34-4111-BB7E-7BCEC695F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B0F54A7-D9BE-4720-A706-C558F2078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9FC92DE-CF85-4F90-83D1-E7AC9FA3C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91B491B-D327-4920-AA96-433F93E61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E49F4CD-A45D-4C39-88B2-B87FAE29F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9692CFC-736E-42B1-8DA8-7A964B04B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1FD752B-9861-4441-BB5A-490983026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803139D-88CD-4C06-A8D0-E9AD044BF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91E4568-8657-4362-9EEE-55EBE5620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4AF69B7-E202-4E56-8B3E-00B86267D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E956B08-8472-4631-845A-E7C50BD9E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DC70C59-9F2F-4267-B6D7-B6AEDA066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EE5D74D-E600-4791-84F6-0ECA9BEAC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3226B76-FD57-44E4-BCB6-848B4C94B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315BEC7-D41F-48DD-89DD-45D5BB3D4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860DD83-B338-4F31-94AC-C53C2DAE5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28F7A0A-A084-4E18-A0F8-63147577C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6E02F57-2F94-46AF-8E3A-6B26AD84C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E000143-612E-4F83-9F46-FB5374EAB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6F21B59-6F39-4A20-AF0A-D0763ED3F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2BC7F2E-C61F-4E6A-BE90-44A981656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7EDD5D8-1B41-4F2C-804A-BC80AE038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161B396-0C6E-4F4E-904A-58AC319F7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79437AF-0F4F-4237-82B2-2CF20819F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ACF9ED4-A026-4093-A06A-915BA2804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38627EC-4999-4DB6-9154-98BD3A602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E657F18-DA38-4D44-8169-8C85FC991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77D108E-1315-4C68-9AD6-C0F089E05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E4EB87A-96C5-4E42-8765-64131D584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912286E-72E6-48DD-9CA9-464039175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BEE1404-C569-4103-8E05-61F7ED0A9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D2C3C38-A351-49AE-84E0-D16F21462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5E26197-398A-46C0-A4A9-7A44EDFB5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5B0BB16-CB21-44C0-B0D5-41F2FB3B9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2A3C8CB-43BA-4FB5-8BE5-DEB4440DD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C21F680-61D3-4BB1-8555-56962B8C4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917</c:v>
                </c:pt>
                <c:pt idx="1">
                  <c:v>0.3711</c:v>
                </c:pt>
                <c:pt idx="2">
                  <c:v>0.3585</c:v>
                </c:pt>
                <c:pt idx="3">
                  <c:v>0.3918</c:v>
                </c:pt>
              </c:numCache>
            </c:numRef>
          </c:xVal>
          <c:yVal>
            <c:numRef>
              <c:f>Sheet1!$B$2:$B$5</c:f>
              <c:numCache>
                <c:formatCode>General</c:formatCode>
                <c:ptCount val="4"/>
                <c:pt idx="0">
                  <c:v>0.2544</c:v>
                </c:pt>
                <c:pt idx="1">
                  <c:v>0.372</c:v>
                </c:pt>
                <c:pt idx="2">
                  <c:v>0.6039</c:v>
                </c:pt>
                <c:pt idx="3">
                  <c:v>0.5305</c:v>
                </c:pt>
              </c:numCache>
            </c:numRef>
          </c:yVal>
          <c:bubbleSize>
            <c:numRef>
              <c:f>Sheet1!$C$2:$C$5</c:f>
              <c:numCache>
                <c:formatCode>General</c:formatCode>
                <c:ptCount val="4"/>
                <c:pt idx="0">
                  <c:v>1094.75</c:v>
                </c:pt>
                <c:pt idx="1">
                  <c:v>472.6</c:v>
                </c:pt>
                <c:pt idx="2">
                  <c:v>999.2</c:v>
                </c:pt>
                <c:pt idx="3">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F0CEFE8-3C6C-4BF9-95F2-312C5CCC3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D892668-CC63-493E-9504-5455EB042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33E35D1-902F-4BD7-B7FE-7EEBB6630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605E71-4E55-4B6E-A8B7-90AC09756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4865FCA-A589-4ADB-8B44-F5BB4ADB8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9680A57-062C-4894-AC27-3264161C0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49F2A94-0790-48EA-A62B-036F13DA0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246D4A7-AF51-43F5-A60F-0520746BB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6F3C66B-4A4C-431F-A636-BEEE5420E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32E2412-F958-4F02-A250-F15535BFB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3479BBB-1651-4E68-B58D-57A09A501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57EF0B3-272A-4E23-A734-2B2176150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91C34D3-F4CE-482A-B490-1EECC0E45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5C6DA7A-FEC8-4B68-BF24-CAB35B8A9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EC25304-6762-492F-BBB2-09AC1B2C8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AA1CE9B-2822-4493-8F64-D970AB098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F718318-0067-4FA5-B8F3-F55FB22C6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8840D9C-4B08-4D40-BEE0-11E59D577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C651C24-3AEB-4108-B543-CA2AFBC8E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BAA057B-8F8F-4ECF-B2D1-29C1BB30E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3023692-5458-4584-8B85-55E49FEC1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D1FF621-4E13-4C89-983C-077ABB436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22EAE5E-09EA-4F18-83C8-AB44197DD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4398E9C-B76C-484A-903D-659DBCF96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9830DB2-E7AD-4E3B-94A3-2D15CB9A7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37B34AE-858C-4858-9363-5BEA81814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53489E6-81DD-4909-A0D6-CBDBDC0BC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258409C-5AEF-4BE6-A1F7-C78FABCA6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6A84C50-3FF9-4FE6-9C78-3FD6C6FA2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0DCE023-B7C8-4A0D-B1B1-9DFCD32D2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D4AB6AE-DE9C-4454-96BE-0520AF93E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447F934-617B-4422-B203-F755747C0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67179C2-10CF-418D-AE3C-A51885997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DB3B959-14CD-4F02-A965-C2AEE359A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A8396C2-00B5-45F2-9E29-A9B5E3702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6C783B3-E9F0-40B3-9C4C-E35A036FE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2DE0BB9-7467-485A-A0AB-CC30B4301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94A7C8C-410C-4B27-8DE7-DAAC57F1C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511D210-7FA7-44FC-A467-0A6E82D20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EDA953C-D08D-4211-BC76-DB2BBF516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0F2D32A-021D-4CD9-BDEE-E9AF67924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1DECF33-B282-47C5-A81F-ACB3E3197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998D65E-794D-4602-92A0-9D3D03278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3B2A309-CB25-46D3-A5C9-EDC067EDF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83679B2-98F0-4329-8401-7A637E234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715A539-1075-442B-A494-8A7A597DD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F32578B-2F73-4E34-8AD2-247DDB7FE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61A96C5-CAD9-4605-B66A-10DD4D2E2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A030734-F120-4B6F-AA6F-831DBF8C5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A93E69C-CA15-4369-BEEC-22426AA10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987981E-028C-43C8-ABF2-5240B06D6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C96D968-2907-48FA-B966-7847D8604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EBDBD9F-CD56-49F2-B388-844BB7240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6D0AF68-7D1C-4257-BE9D-65ADCEDC3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8138C84-CD1F-4080-937E-126931510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F11F9FC-C928-4CE2-A190-D246D7056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B1AAA21-D8FF-4F0A-B247-7CC8406EB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5</c:v>
                </c:pt>
              </c:numCache>
            </c:numRef>
          </c:xVal>
          <c:yVal>
            <c:numRef>
              <c:f>Sheet1!$B$2:$B$2</c:f>
              <c:numCache>
                <c:formatCode>General</c:formatCode>
                <c:ptCount val="1"/>
                <c:pt idx="0">
                  <c:v>0.4195</c:v>
                </c:pt>
              </c:numCache>
            </c:numRef>
          </c:yVal>
          <c:bubbleSize>
            <c:numRef>
              <c:f>Sheet1!$C$2:$C$2</c:f>
              <c:numCache>
                <c:formatCode>General</c:formatCode>
                <c:ptCount val="1"/>
                <c:pt idx="0">
                  <c:v>2192.54285714285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CBDC08B-376B-416F-A9B7-430657782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DF54640-79EC-48C6-92C0-AC26C8DCF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1321476-F5F4-4604-AD6A-26B645540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5E15315-E3CF-4728-B0C4-3CC991992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E53919F-8362-4906-B4F0-EE6CBEC92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0051A1C-3658-4A3D-BD47-E0C074F37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92C1034-996B-4B1A-9E83-7B2A3CD65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07E574-ECC0-4236-9F3E-18E9E7E6D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5EFE3E4-6F20-4F7E-B16E-B0F6DF71D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381DBB5-3AE6-4CA3-AF33-9C30E5EF8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28C3E17-E88F-4EAD-A2B5-2F9A4CC53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A8E18C-C3FC-4798-960F-3AD522144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F75A458-FCFF-4731-B10F-F3D5BBF34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C48F630-103F-49AC-B27C-EB778EF1D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4D805CA-2DCB-49EE-9F7F-CF08C93B5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5074FC7-7D27-4295-B05B-0871D6C21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D79BC21-0455-4C7C-8C69-DC22E5953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637FB3C-163F-4550-A784-A02EAE5B7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760A8A6-7C86-4896-BB97-331B2B45B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80E8C14-646B-4B4F-9512-A6DD31F58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99D8FEA-94E6-49CF-860D-F5C493907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6F419A5-E08B-4893-A66B-252B8CAE8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FA9342A-1558-48A2-8493-BF60437DE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F8DAA91-9401-4736-851D-D7037A059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BD0D26B-7B26-4F9A-9B5C-DA242D91C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9A732C9-528A-45F6-A1CF-DFB72321E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2F140A4-6066-48D9-A546-8231ED59E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84BB94B-BC29-4BA0-99BA-64F578097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9328643-61DA-4F42-99AA-074679A62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26D1EFE-123A-43B6-A494-2FA1CC7CA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9CF8721-4A10-48AF-A8EE-F8FF63954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7B2C9DC-8653-40C0-B476-A117F8866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275E398-4D8B-4146-97D9-926A23AF7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842FDC2-DFD0-4C23-9CA8-2142E0D50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B39DC8F-1C1E-4341-A352-3B88D0790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7419594-9F8D-483B-A76C-C1459FA89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952BA8B-604B-4721-9109-F3A0FC651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4A6B48C-CD0C-46EC-8314-BBF19B854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FB6DA37-304F-4F20-8CED-ABC969728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0B85AD8-E6BC-43F2-9C20-FDAC13C9A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7B58374-6DD9-4F79-8B12-ED071C12D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559FE06-31B2-492A-A251-021BDC01B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89517FB-667E-4C9E-8DF3-13FB7BD47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102A730-B2B9-42AA-8081-47824DEC4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EB58130-CCF1-4366-B656-D580EC0E1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F5BBCBB-03A9-4EB4-B0CF-1D888D542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4678D70-D25D-4F9F-9D1E-739A6AC91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1E1A8C7-0C70-4469-9367-29A68A9FA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C848803-7C3A-45BE-8EE3-92ACFD9F4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08152AD-101C-463D-84CA-49FABD592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1A0196E-BA99-4C9B-8F5D-F620B86BE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72B4F5B-B0F0-42A7-9FAE-22DFEDA33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F66C9F2-111B-4BCB-B261-7DD83B7E5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FDAFA13-7092-41CB-A719-B54D5ACA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5A89530-3CB9-48CE-999B-7A512AEE2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F67CAF7-159E-4C02-9448-5F997275F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37CA1F1-6D49-4D37-9AFC-9E92E8966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6583</c:v>
                </c:pt>
                <c:pt idx="1">
                  <c:v>0.2228</c:v>
                </c:pt>
                <c:pt idx="2">
                  <c:v>0.3666</c:v>
                </c:pt>
                <c:pt idx="3">
                  <c:v>0.3679</c:v>
                </c:pt>
                <c:pt idx="4">
                  <c:v>0.3918</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1414.0</c:v>
                </c:pt>
                <c:pt idx="1">
                  <c:v>14923.912087912087</c:v>
                </c:pt>
                <c:pt idx="2">
                  <c:v>6680.846153846154</c:v>
                </c:pt>
                <c:pt idx="3">
                  <c:v>19149.166666666668</c:v>
                </c:pt>
                <c:pt idx="4">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C8472AE-FF90-44A9-B613-109593B7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D494A41-3430-4EA5-BD52-7D14A75F1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CB52495-A6A3-419F-8457-2E75E73A8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941BF7F-977D-4F82-B439-823004605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4169E76-F080-485E-9121-85958F14A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681AAC1-943F-4026-A240-45423A35F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02ED01D-E367-4215-9CED-9642DD21B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754112D-611E-4E91-8A6B-7CF97CDDB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56</c:v>
                </c:pt>
                <c:pt idx="1">
                  <c:v>1.3248</c:v>
                </c:pt>
              </c:numCache>
            </c:numRef>
          </c:xVal>
          <c:yVal>
            <c:numRef>
              <c:f>Sheet1!$B$2:$B$3</c:f>
              <c:numCache>
                <c:formatCode>General</c:formatCode>
                <c:ptCount val="2"/>
                <c:pt idx="0">
                  <c:v>0.3656</c:v>
                </c:pt>
                <c:pt idx="1">
                  <c:v>0.6549</c:v>
                </c:pt>
              </c:numCache>
            </c:numRef>
          </c:yVal>
          <c:bubbleSize>
            <c:numRef>
              <c:f>Sheet1!$C$2:$C$3</c:f>
              <c:numCache>
                <c:formatCode>General</c:formatCode>
                <c:ptCount val="2"/>
                <c:pt idx="0">
                  <c:v>13456423.158500016</c:v>
                </c:pt>
                <c:pt idx="1">
                  <c:v>5594958.6237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97599999999998"/>
          <c:min val="0.23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08468477973"/>
        <c:crossBetween val="midCat"/>
      </c:valAx>
      <c:valAx>
        <c:axId val="1011451359"/>
        <c:scaling>
          <c:orientation val="minMax"/>
          <c:max val="1.14588"/>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9785269124007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370C0C7-5B7B-4FC0-90C3-FD0E7F76F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85C966B-37A0-4BCC-8D0C-9A0DE667C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2341BCE-107F-4E95-8AE5-5EC2D4410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0C837E1-D130-452F-9E4D-D212B1027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988A83C-289E-4099-A686-765A06A5A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3E3F5E7-689A-43D7-AA28-9550F21FC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90B4565-3F5D-4E72-ADA8-3883BB31F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BAF957E-AF9F-4614-AA81-9F2C4A0E2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277B105-3F79-4936-A85B-C380CE8E1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CC09253-008D-4845-8EF1-EC0601121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F97D5D1-661C-42E2-BBF0-1819E2B12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B9ECCF6-B157-419A-9800-590270ACE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D180722-84A9-40A5-9521-AB37733DB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4E357E-A5D2-4E2E-88DC-D52FDE757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24D1C0F-572E-478F-92A5-0DB1CA242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B230933-E55B-4B8E-8DBD-014FDD19E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04FAFCC-7C2B-4754-9A70-423418E82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6B03FED-4B30-420D-8CA5-E8D52F609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09E635F-0C4B-43FE-96E4-74613B353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6CB8811-FC95-4FD8-BDC5-41A3C9939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6A2BC37-D5BD-4D26-ACCC-F761323B3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F1EC3F3-8AB1-4533-ABE5-E6C6450CB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498EE7A-D9DA-42E4-BBDA-1D0FF88FB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E04A63D-D360-46EB-9073-910D506F2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E2F5DA9-944C-455E-B16D-53DAC1879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2B588A9-640D-48C8-9356-FD7E26CC0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A17CECB-0895-4929-BF57-1E71963CB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B2678A7-A787-4861-9508-2CB521DB0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E660904-9D84-4EA1-B43C-70F6CC608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8676AE5-339C-4A7A-A90B-572779C45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E5F2D46-AE0A-4050-AA88-8C5B0A1DE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20283F4-A881-43C6-A592-656CF3030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94BFD41-E794-41B1-A222-B3387BFA9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5F3EF3-746B-4B62-9C04-C7169C2B3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5387392-CF18-4552-B650-A6FCCD678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ED5B68E-DE46-4FD8-802D-B78CF96F9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F84248A-8B14-40B2-BA84-D38B6D162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0F9F207-0FE7-4BBD-AE82-5CAD73CD0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994604E-BA18-41C5-A279-2660FE1D3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E0C618E-214D-4967-82E8-486F73FA5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B68B60E-AC09-4E61-A9E1-23DFBF9AF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B9CB3E0-6226-4993-AF96-DF5732983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8B404C0-22A5-482C-BF21-AD2914DE2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5083F00-0B56-4999-81F9-61233B940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56241B1-A2FA-4C89-B55A-FD05C143B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D7156BC-6266-45A5-AF29-00FC9E39B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4A47CBF-CEBB-4563-803F-4F136F4E1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3E79BB1-EA36-40CB-8C27-1BA4F373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E04F57C-658B-43E0-ACF1-91BE45045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EC4A117-60AE-4A40-A1E0-EF34D161A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6930082-4FAF-4452-8EAC-C59AD513B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1D15C23-9FB3-4D39-99DA-798644D74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FCF3A6F-BAA6-41E6-91B1-2EF272455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AB9BCAE-A0E3-42AA-8199-C659A941D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7C675CE-6749-485E-8ADA-616D745C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88AAACF-23F8-414C-9776-90313F053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0055780-BD90-4AF8-916A-565766FAB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26568.49350649350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C0991EB-083F-4259-A2CB-B68D5D66B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33853FB-D125-478A-8B72-DC2E5D6B8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ACCBAC-C1AF-42C6-BA8C-BE5460315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E65F5F-62E1-47C8-8DEF-4B210F6C7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A5F0911-246E-4AC8-A50C-CF48D98D7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ADE5100-C909-4AE2-A68E-78A2E7F8E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D6C0D83-70FE-4244-96A6-ACBBC58EE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20A22D6-5FB6-4825-AF06-A6149DE37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24EAB77-DC65-4112-8A88-3ED720F39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3B1B4E2-B85A-4735-82C9-4F645C78A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ECE0DFA-9111-4267-990D-A8BC9DCB4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CDD35B3-1EFD-45BB-AD3E-6E362F676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8D2B23F-1BBD-4F2F-80D0-D8C0C02CE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08D34B5-4192-4531-8C47-979930754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1375393-3BE4-4256-8B0E-1AC3507FD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F0A6499-9017-4C6B-9737-812582042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8671565-F203-4EDA-8FA6-9EA966237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616E11C-750C-470C-8F45-36888AA4D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1D807FF-0DBE-449C-9D74-2AAA4825D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24776A6-BB02-40E1-BEA3-F2BF8BCF6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78E9F78-396C-4B05-8900-CDD183CA9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4CB4729-126E-4B80-BAFF-72DF935F3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2C5EB97-8B61-4748-8E21-F2A2C250C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8C24F32-C435-442B-8B0D-2E498ADD1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E850B34-7650-4641-B2D8-E742BE267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801462D-7A3F-4CD5-A41E-C836BA847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14BECDE-BE78-4E9F-9AFB-BCB2E7CA9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EE39621-59AF-43C4-AACF-C4E30BB5F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2BE7427-E6D4-4AA9-B2FF-A40DF279A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5D14E9B-8151-4697-B6C5-DDB11A43F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018B3DC-1C30-414E-BA4F-A336F707C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6CC3E71-D2A7-45B2-BD70-6D7064AB3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603EA75-3CC4-4AF1-A7CC-264EB9D3B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23C76AD-7512-4D82-B4BF-73C8650CE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9B762CF-BA2A-4EC8-8389-488D46873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A0382E7-2E1E-4A2D-8005-86B3EC1AA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02345D1-C5B3-41A2-A5F1-D1118E74D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E31D04E-06B8-4C18-8E44-074715E1B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3006D5C-BF39-4F54-B481-5E795E6A7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1896301-C2AB-4D19-B02A-8B30A3ACF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C35FE5F-01F5-4C1F-A200-843575715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29A0B6F-F763-4FED-9443-0B46FE5E5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87B8B5F-2462-455F-B221-D197138AE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55C25E6-28D3-4BF6-ADC4-7F575157A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2C71B0C-1C8A-4D82-BBBF-E5565B78A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C155339-FA6C-45D3-9FE7-87EA649F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9D03949-F7A8-4FB1-BE99-BE362A355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49A120E-E979-4E8C-BC9E-8DAC3E29C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666AC19-D3F5-4B88-90EB-3281DBCB8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5E9DDA3-595C-41B4-AA61-3E3035439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1122455-AE73-4D22-9106-72C935F3A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AA62C6E-06BC-4EA4-A649-375672484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1182FDE-3509-41EA-A1E7-D596E8EDB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B3DFC90-D072-4E88-9602-CD31F04F3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77769CA-1C03-4636-815F-DD362C325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DF65CBD-B957-474E-A3F0-4D198FA6B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CB2FF22-863B-45FA-B6FC-61C9B6EF0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c:v>
                </c:pt>
              </c:numCache>
            </c:numRef>
          </c:xVal>
          <c:yVal>
            <c:numRef>
              <c:f>Sheet1!$B$2:$B$2</c:f>
              <c:numCache>
                <c:formatCode>General</c:formatCode>
                <c:ptCount val="1"/>
                <c:pt idx="0">
                  <c:v>0.5307</c:v>
                </c:pt>
              </c:numCache>
            </c:numRef>
          </c:yVal>
          <c:bubbleSize>
            <c:numRef>
              <c:f>Sheet1!$C$2:$C$2</c:f>
              <c:numCache>
                <c:formatCode>General</c:formatCode>
                <c:ptCount val="1"/>
                <c:pt idx="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8FE7239-CC1A-4B7C-803F-F295AE094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AC7EF61-D068-4CCE-992F-95435123D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3A8A27B-3F61-42A3-8245-5589E9BA9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99C951-30B1-4DE3-9859-5FF03A1F5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0625E0E-5FD2-4125-94EB-AEFD0BF4A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65B861F-721A-432F-A3D0-2876B32E3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D4E51DB-A47C-4286-96E2-8A89B5F33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EE17C1A-A049-4764-9499-8A51F84F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92729D5-4830-4271-8D64-E1CDF278F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676F716-5AE0-4A2C-9F97-66C817AC5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9BBB25B-639E-4245-88A5-5111CC690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1CC7B4A-9874-4D36-8F39-877A9EF45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0C38C04-0451-4274-BB81-AA47FC340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E41ACF1-93D0-4285-8BE5-67B0BDD65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963111A-1752-4FE8-836D-C80754AFA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22752FB-703C-451C-ADE7-2FCAB0558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97A2A2B-6908-481B-8463-DC6DDE1BB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FE02801-3951-47F1-AC8E-41FB4C53B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6AFBA0C-1A3A-4460-9EA8-653D9D42D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DE21F93-A5CB-4A2E-9AB8-EDEC49EDB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91CBBC5-279D-4252-AD4F-7B12F764C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D7048A-C8C8-4726-8653-17D1E1EC6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69187EF-B0CB-4F30-B55A-CED5815C4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CD663BE-D94F-4A1F-8AE8-F0598E0E6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358DB95-A770-4D59-8453-60A5D9783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EB4A575-FA2E-420A-8AB5-4ACE5D703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BD573A8-446C-4461-A43E-59706302D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BE89481-B28F-44BF-9FC4-191BFEC3C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A755844-E7FA-4D3B-8308-169B5CEB5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AD9F5F5-0981-4EF5-8821-EA41AC49F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BCEFA24-336A-44CF-B52C-7B1310C30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23FDA2E-5F7A-4380-817D-02170F8A5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076C6DE-3ACA-4BA1-9888-A16DC7C7A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28BD883-6B38-4348-B1A1-9C4BF096D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059FF49-081E-4FAE-9999-99883F8FE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8684878-2BC4-4B7B-9A2E-FB5048A75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A3F8C91-C6DB-4123-8AB7-237AD2CA5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93D444D-AB15-4D51-9054-3379AC94F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C33162F-3279-47F1-AAEE-70588204B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B2D37BD-C3C4-40D1-A80F-94E55B937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B616F14-DDD1-4F4C-A16C-610878C89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33D2A2E-AAF9-41BF-814F-CDA6469E8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06876C1-B44A-4D2C-BD6E-9649CF363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3F28B59-2C1E-48E9-87CD-9A35EBB6E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927CDC6-A024-4933-9D58-8FE75ACB8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E571A98-E840-4C2E-BDD5-62E7427DA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C642C76-CDDE-45B6-83FD-7F0BFD62B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A837848-6604-4CCA-89DE-189921C1C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3A3EC2B-8294-4B83-B4C9-6D4091F7E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C1D35A8-4FBC-4F77-AC60-E8F4195CD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184AAC8-F5FB-412D-9ED4-7C9B125BF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7413747-F057-40C2-BD76-24734DF35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62088B9-B15C-4C65-967D-A0E4DAB58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862BE4E-D144-4CF0-88C8-811435985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BC3A7B9-4B5B-4D18-9846-4C8C95456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B76A490-49E2-467C-853A-8C343A8B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F3A01E2-603E-4A79-9DDF-9F21246FA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c:v>
                </c:pt>
              </c:numCache>
            </c:numRef>
          </c:xVal>
          <c:yVal>
            <c:numRef>
              <c:f>Sheet1!$B$2:$B$2</c:f>
              <c:numCache>
                <c:formatCode>General</c:formatCode>
                <c:ptCount val="1"/>
                <c:pt idx="0">
                  <c:v>0.4199</c:v>
                </c:pt>
              </c:numCache>
            </c:numRef>
          </c:yVal>
          <c:bubbleSize>
            <c:numRef>
              <c:f>Sheet1!$C$2:$C$2</c:f>
              <c:numCache>
                <c:formatCode>General</c:formatCode>
                <c:ptCount val="1"/>
                <c:pt idx="0">
                  <c:v>3302.69811320754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8CD5B62-DD53-4817-A4B8-2A9898257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900345F-0C25-458C-A0A4-96D67AB7C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343CAC4-9AAA-4C43-AB63-637DEE936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AB16B5-6C72-486B-976F-B3FDA23FA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145BD0F-4BBF-4FB5-89E6-3F6C16B2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4B904E2-36D0-4DE9-AF78-BA4CDFC07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277B1E3-48B9-4943-86C0-39B7AA47F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5D660D7-209A-45C0-B4EE-FE43AF6E6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A7D81B9-7552-4BF4-9EFA-DABB99D0B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404D0DA-975E-4A24-A8D5-9D6567793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FCDBEE5-CCDD-4E21-8965-DE49ADDDC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65C7FBF-28A6-4868-8CE2-39741774C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C6F67C6-F866-4F87-A6E8-DB6C80C2F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B008FC7-C924-4335-9462-46F8E7CAC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D941365-6B18-4E53-8B4E-E7EC2E63F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049145F-2965-4AAD-8B3A-C416FE6CE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E42A2A8-9D44-4BF6-BA38-6BCC58383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EBB030C-B6D7-444E-8CF3-4994C5368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F5B8693-28D6-414D-9AF9-B183362A5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2417758-C7F2-4970-BBDB-7A720B71C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561FCC3-A2AF-44B6-AA9D-81D5CFDAE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6F79D02-4D65-42BF-B8F8-E2D635E33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0AE9323-4553-4BD6-A890-A2528D37A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D0AEA8B-31D4-480C-90CA-A6A620393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8FF5E82-9306-443A-AD6F-C1A8E4A38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FDD4E6E-1706-45A6-884A-363A28831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D543597-D9BA-41BC-8668-8BC75C851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183DEA9-4D98-43E2-A38E-58620CF0B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296BE62-F139-4420-BA1E-EE6843DEE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3347A4D-6E35-421D-8266-CEF1DB6E6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6C8F899-F1EB-401A-89D0-E75EA2A62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F9C0813-D7A3-4FEB-B183-D2B052599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5E026EF-3128-4261-B449-AE4314EA0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300881B-05AE-4225-8EF7-8490BA5CE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DF712CC-5FC1-4989-B568-7995CD9EC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A582B7C-FBC4-4ED7-865D-434CFFBB4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4922ACD-D343-48B3-AAF2-7A1CA8D2A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6B3E889-E8B8-4CCF-AAB7-3159CA028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539DE31-A291-4D9D-9247-E378940D4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5D0D920-E48B-45D4-BCBC-F21C33F25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B83B62F-2BB8-4F43-B5FF-58D5A8971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E92F26E-98ED-44C2-B14D-E2C9A53E8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86B77E9-B2A6-4D33-B978-A718DA1AB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132EB0F-711F-4FEE-9319-376DB141C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45DA89F-BA4B-411F-8250-4296B3D3A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F0EAB2D-7C67-4289-90AD-5B4394F7E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B866ADF-91FA-41CF-99C9-2CBF7A3AA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F75D8D7-DDA6-4F46-ABAB-37C25C4B6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6418737-2C5E-42BD-9986-FF6508B64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8453A8F-FD75-4889-830C-CE2671B2D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2369C08-0C29-4505-8527-6743788B9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77A99E0-90B7-47E7-8D17-4BFC9677B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DDCDA24-3E72-4320-B8EA-A73870B7F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1F7B167-9925-4642-8E74-489AF3A88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423BE27-3764-4125-92F8-7FFFEBAD3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8085594-8102-4683-9CBF-16396685D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F5FBBC3-886B-4B40-9E2D-3283AB605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6831</c:v>
                </c:pt>
                <c:pt idx="1">
                  <c:v>0.223</c:v>
                </c:pt>
                <c:pt idx="2">
                  <c:v>0.3668</c:v>
                </c:pt>
                <c:pt idx="3">
                  <c:v>0.3675</c:v>
                </c:pt>
                <c:pt idx="4">
                  <c:v>0.3918</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1754.0</c:v>
                </c:pt>
                <c:pt idx="1">
                  <c:v>17159.559193954658</c:v>
                </c:pt>
                <c:pt idx="2">
                  <c:v>7625.128205128204</c:v>
                </c:pt>
                <c:pt idx="3">
                  <c:v>21416.964285714283</c:v>
                </c:pt>
                <c:pt idx="4">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5713AF4-62A2-41F5-A1CB-47AF6267C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668B521-13CB-43EA-AAC5-02BD5149E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A03DC8-86E1-4BA1-9B29-B9B293CA3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C4EBF9D-565C-48B8-98A1-ED1B44BAA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1FD552D-F1B4-480E-833A-5D1967770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BE7B5BD-4B31-44C2-9F97-65C229135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43131F7-75BD-456A-A8E3-400E267BF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6877A07-AC0A-4B69-B0CC-C5CA0631B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A767F84-D365-4363-99FA-7365B42CA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94B6323-EDDC-4C33-BE31-30193ABE0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5B502A2-0AE4-4B73-8568-599A53906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C4995A6-0ED7-4144-BC6A-1D98BBCAD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285C419-DEA5-4FA2-B0B9-E6494BD93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81B6B00-7B72-4EF6-9B59-3E4F9DB76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D9F0DF1-D8A9-45DB-A28F-6D25AF3FC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6D1ADD1-9BD1-47FA-99F3-74C02489F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BC9ABFC-B37E-4C2D-BF58-0D8274FA9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867CAF4-0610-40B2-8796-888C0DEB3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FCEC0A6-6952-4C67-A18D-034814A8A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3BB661C-7B62-4D71-8164-26F65B4D5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2663B64-27D6-4332-8BCB-E6E410808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E4C3616-85A6-4D8C-87A8-A78DE6124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52D11AA-5E22-470B-9466-F1801CAF9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CF9A5E3-A67B-4988-B648-A2D235E57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1C30FA3-0E6D-404D-B239-DBAAA9CDB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F3EF5AD-0854-46AD-A542-D0CA053CD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CB85BA3-2916-4F8E-8C93-18FA615F0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D9E2500-ADE6-4AAB-AD83-5776C0082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8685694-5C7F-40CA-A756-B42A7B5CA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92BB9EA-69BA-4C7A-9841-1F5C4C6F0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AD3F8A9-B2D4-44D2-8DF0-FF7F8FA9E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7701B1E-0BD2-4820-B606-8D47A02D2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2D1760E-26AC-4D06-BB3C-6FEEC4116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B529E79-A125-4E56-AFC5-0AD9D4588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F0B72FF-38D6-45C4-8F21-2B999A902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9D14030-2095-4AEA-B08F-3082274AC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9EE6002-7F21-49DC-952B-4DCC7857E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A050C2B-B7F3-4B8C-9BB7-D97E4813B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EA4E2D3-419E-4DB6-88F4-6EA79FB1F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D377203-6AC0-48B1-9B23-45A4C6ED7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B842112-009C-4648-9F20-1DB19C25D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D43B088-6BF3-43DA-A188-B03F73706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11AF9E3-D1CD-4079-955F-28A4A8417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7F6A01D-E88B-4DEC-9BBC-C250948CC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3A11540-6A32-4E47-8208-74508D70C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6B6981C-8470-4394-A8D7-41CBEBF4A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19BD5A6-A98D-4B7B-869B-750136C67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C2FB778-CE7D-44BA-97B4-09DB20A7D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EFBC5F8-CFB5-4445-8B6B-7CD9810AC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E6F734C-9DAC-4CF2-9D40-B4EFD38FE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FE9E705-D928-4B91-A482-86B1CCE61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C06E564-AA2E-49C6-8C16-5A11AEF84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CD46C84-5466-4B3D-84F3-726AB639A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4BBFDE1-C3BE-44D5-908F-78DB6B06A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28E909A-828E-49D1-B145-7A4F3FF4C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61DA54E-7356-476A-8F70-BE279CCB5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2B31587-DC0B-4A1E-B006-FBD50A4EB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31615.11318242343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208308C-72D0-4D63-B250-CEB4A8E10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3921053-CB51-41F9-88D5-40FF7F09F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235251-90CE-41A4-BC2B-CD330874C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A165212-72D9-4393-92A7-1EADB1113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0DC73A6-36EA-4FB8-8477-A31395A12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31AE297-C550-4C55-8980-8AC3CE080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1213716-F267-4C2D-BA29-1B3F96DB3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9A76EF1-C8DA-4E4F-8B2B-2F46D73FC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500293A-8578-4420-930B-CB9E0264F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D482A21-50DA-4E00-B396-1CEB51B17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9FBE18C-8E79-4807-9830-456A87DF5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3F0F945-B00D-47EB-81CB-42C96049B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16757CC-86C6-41DB-A44B-85412DCAF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C1E66AC-B4F1-4D23-9C6B-1DC74061F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DC6BA6D-163E-470C-B033-F2D124973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D59D4C2-99BA-4683-BB3A-F98F3C999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77C2473-CAAB-4371-BB92-2D36D24D4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F84B438-4803-4205-B2AF-E92BC988D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5D81095-EDE9-4C09-85F3-9879E430F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0E41AC2-105F-4707-A872-6877F4144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3138EA3-431E-4A79-8B73-04441D4B0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097E8B9-F955-4AB7-8F64-047EF50B2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CE1E1E3-B579-4BC1-A4C2-D30CF36FB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283F05E-AD37-44A0-9235-1F9535B16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D87A880-3A43-45D6-AD3A-C17A53249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BFB5E64-44CD-4715-B865-15776E96E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13D84C1-26C4-4E75-8C97-CF13E59E3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D1CD081-EDFF-4406-9D23-F2F63FBAC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72A290F-48F6-4297-BD9C-4C5B36AEF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FCF5358-2CAF-4C7D-8745-D7EDC539A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33D8D97-6A50-4FD2-B7C5-D50B94F26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F30DC37-510A-4412-8F24-41C0F83F0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D907645-D1AF-4F2C-91F3-BEFA8BF76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27ABC4F-7063-43F2-B8E4-AED2CCFF3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FBCFFD-7CF7-4B42-B5D5-3ED677670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275E4DB-4F0B-4AE0-B13F-3B51C70F4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2B54032-0208-43C8-BDC8-0804111D1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BD67A1D-B8C5-4857-983E-CEF5AEEFE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6FC4E39-ED5C-4B45-8616-E260D7016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6312FF0-03A0-4BDA-BEF4-D170FA835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CAFE5BB-8EBC-447A-BCF0-C890CA377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8E5CD81-D62F-444F-B9FA-61FCF631C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31EC9E9-BD3E-4E52-8C11-64A687F0D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242C7FE-5444-4362-B35F-25F37648E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E6EEB86-FB76-4ABA-B972-385144D6E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4DDDD90-D25F-4C6C-A52A-91BFD8FBF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621B058-2446-45E6-84D2-FCD407C78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1773E3D-A8BA-4BD1-86D4-BE7A724BE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2566D2B-AEEB-4261-A8C6-02E0DE3C0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BB7F79C-A413-44A3-B0E9-3148AB023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301F708-8657-4E97-A8E6-73FB28894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9E3F7F6-1D26-4DBC-B0A4-E85E1574A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129DBCF-A8E6-4F0F-AF51-44E6EE0BC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A1D763D-B523-4E6F-89ED-D7A1C8FFE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968FC75-EBD4-4346-B5D6-496D431EF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36407BB-5B50-44E0-A5EC-034F18E54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3AD71DD-44A4-4862-B4B4-729780D3A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6975</c:v>
                </c:pt>
                <c:pt idx="1">
                  <c:v>0.2203</c:v>
                </c:pt>
                <c:pt idx="2">
                  <c:v>0.3456</c:v>
                </c:pt>
                <c:pt idx="3">
                  <c:v>0.2809</c:v>
                </c:pt>
                <c:pt idx="4">
                  <c:v>-0.6721</c:v>
                </c:pt>
                <c:pt idx="5">
                  <c:v>0.321</c:v>
                </c:pt>
              </c:numCache>
            </c:numRef>
          </c:xVal>
          <c:yVal>
            <c:numRef>
              <c:f>Sheet1!$B$2:$B$7</c:f>
              <c:numCache>
                <c:formatCode>General</c:formatCode>
                <c:ptCount val="6"/>
                <c:pt idx="0">
                  <c:v>0.797</c:v>
                </c:pt>
                <c:pt idx="1">
                  <c:v>0.6948</c:v>
                </c:pt>
                <c:pt idx="2">
                  <c:v>0.7136</c:v>
                </c:pt>
                <c:pt idx="3">
                  <c:v>0.7271</c:v>
                </c:pt>
                <c:pt idx="4">
                  <c:v>0.7947</c:v>
                </c:pt>
                <c:pt idx="5">
                  <c:v>0.6903</c:v>
                </c:pt>
              </c:numCache>
            </c:numRef>
          </c:yVal>
          <c:bubbleSize>
            <c:numRef>
              <c:f>Sheet1!$C$2:$C$7</c:f>
              <c:numCache>
                <c:formatCode>General</c:formatCode>
                <c:ptCount val="6"/>
                <c:pt idx="0">
                  <c:v>897.7777777777778</c:v>
                </c:pt>
                <c:pt idx="1">
                  <c:v>75823.49665924277</c:v>
                </c:pt>
                <c:pt idx="2">
                  <c:v>6750.3125</c:v>
                </c:pt>
                <c:pt idx="3">
                  <c:v>21518.936170212764</c:v>
                </c:pt>
                <c:pt idx="4">
                  <c:v>5644.0</c:v>
                </c:pt>
                <c:pt idx="5">
                  <c:v>68443.0063694267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A3F2B29-8361-4513-B972-6CFD17DE8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9CBBBAE-47D5-4689-A0CA-5713CCF7E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3E1D973-B2DF-412D-92A1-018ED43F1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07D0AC-5066-419E-A5BD-4A2149363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C2299F8-FFD6-49DB-A806-B8F68AD71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9D90F5E-D9C4-498D-AD80-F9589A3CA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188FD6D-107E-478C-9980-E1C75A88B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C548646-F150-442A-96F6-74EDC658A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C61A16B-8717-491C-8409-2BA408BE6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E499E4E-BBC0-405F-AE50-FE49A114A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98613D3-C030-4C72-AAAB-1316C968B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171AC36-E925-4BA0-97F1-0A3E3B1B8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EE4E451-D027-45AE-8130-BBAB0D76C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FA506B6-ABEA-4A3E-A792-8D3B3EA69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E36FF94-AA8D-4541-9DD9-835D72012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0C97449-0602-4E94-9B30-BF1C54F5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30630E0-8E66-4609-9102-35CE9B994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117B87E-4B60-41B3-A05B-75E98B066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1F2C8CA-27C2-4674-A089-503198CF8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3420DF1-8DC4-4EE2-8CFF-26567C134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E601A36-BD33-4144-BE4F-69E5C9EB2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E709458-31C1-48DC-A321-11DF68098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8839F6A-C475-4FA0-922C-9E5E9925B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E096049-FD4A-484F-8A03-B71DD6E8D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8BD056B-14E7-4086-AC5E-EBD4EA970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8D88EA7-D571-44D4-BFB7-C5130D886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4C95286-9977-46A5-ABB4-76B931D93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43398DE-1082-474C-94AB-AB3A9806D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B7B2415-16E1-45C7-A9D8-13B00582B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1466CE0-2C7B-4B90-8AAB-D4256F7E5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FCC4654-8609-4A0A-9685-A2ECED0C8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F060442-594C-420E-89A2-49F553F20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D26EA87-BF0F-4354-921B-2137D6F56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EA3B4D9-8AC7-47F7-9F49-691102ABA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00591DC-B36C-44E0-97CE-48EB13AD2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79C8375-52A2-4942-8C0E-05294EED0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568B000-2849-41FB-9356-11253084A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6CC2D19-8F6A-4956-94D9-A374C8DD7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0C5B48C-51A8-4479-AE21-964407F3E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708FAD3-7770-49EC-97A0-796F4062A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4938E43-522C-4EF1-B267-338C279CE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2C6602A-7005-4492-A9AB-7068ACE53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C0D6EC9-5D7D-43B2-96DD-BA84E4F18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40185A3-6459-4BFB-850C-CE2468CD3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E62573A-5D9B-4D94-8E4B-D71B38C2E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5CDA4B1-1AF2-4068-8591-1F2FE7DB2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5DA0614-EB88-4465-B6E5-B3A23413A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9DE6354-0B16-42E7-BC10-37882EE35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E1418FF-DF6B-45FD-8260-7BAD8A864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DD0AB54-424F-43A2-A179-EBBD7BC3A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3681875-E329-43EA-B312-DD749EE90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49D6479-9E7E-495F-A21B-3846CEB8F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0646004-AE11-4DE8-A2E3-D964FED9B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CC90CE2-7A9F-4419-882E-9009840B3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68499B4-C043-40C8-A428-0062D0EF2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56E16AC-B3F1-4705-B06F-F1EB18319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A2B39A7-2953-4804-BF7B-AFC7DEBA0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051</c:v>
                </c:pt>
                <c:pt idx="1">
                  <c:v>0.3987</c:v>
                </c:pt>
                <c:pt idx="2">
                  <c:v>0.4029</c:v>
                </c:pt>
                <c:pt idx="3">
                  <c:v>0.43</c:v>
                </c:pt>
              </c:numCache>
            </c:numRef>
          </c:xVal>
          <c:yVal>
            <c:numRef>
              <c:f>Sheet1!$B$2:$B$5</c:f>
              <c:numCache>
                <c:formatCode>General</c:formatCode>
                <c:ptCount val="4"/>
                <c:pt idx="0">
                  <c:v>0.7386</c:v>
                </c:pt>
                <c:pt idx="1">
                  <c:v>0.6837</c:v>
                </c:pt>
                <c:pt idx="2">
                  <c:v>0.7091</c:v>
                </c:pt>
                <c:pt idx="3">
                  <c:v>0.7317</c:v>
                </c:pt>
              </c:numCache>
            </c:numRef>
          </c:yVal>
          <c:bubbleSize>
            <c:numRef>
              <c:f>Sheet1!$C$2:$C$5</c:f>
              <c:numCache>
                <c:formatCode>General</c:formatCode>
                <c:ptCount val="4"/>
                <c:pt idx="0">
                  <c:v>779.0</c:v>
                </c:pt>
                <c:pt idx="1">
                  <c:v>10233.439767779391</c:v>
                </c:pt>
                <c:pt idx="2">
                  <c:v>38536.181506849316</c:v>
                </c:pt>
                <c:pt idx="3">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1A985AF-DD53-4D6B-936C-2BB9F3317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2183920-C5FD-49D1-8005-47A166337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F75CD4-CBC1-4597-B5FB-789ED8427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8BECCB-D216-4D41-B53C-F40D1CF00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BDCDABB-43F2-4D05-8522-900198D52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13ADC9A-8FB1-4032-A971-15F5DB761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59C7A9B-F7B4-4571-AC66-B1E0DE252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EF3197-10A5-4D4D-92F2-00E139968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D58A34E-0436-4BEE-87BD-1BB019EED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FBA4567-E67C-484C-B83E-D7403B22C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2AD3244-3AAB-4636-B91E-72A56603F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5448D0F-8AF4-4112-B536-38E253F68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8FA25EF-A944-4B62-A7A3-5C375EDAA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CF169C8-39DE-4A9B-9D1E-579289C10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E435AC6-21DB-4120-8650-976885B93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5A18B2D-B71B-4278-A368-9B0DAB63F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7BB33DE-83B0-48CA-91F5-47EFD3675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865FB4B-5A88-4012-8911-C818A50A3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3865CEA-84B2-4B75-B1E8-B5492F48E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E3CA885-6E9C-4492-AF7B-13DB52256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6429331-D0DF-4490-B6B0-39BDFA43D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181B2E0-0049-46F1-8C15-7ACAD119A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4B61C48-58A7-4B5E-87F8-CA6BDEB0B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F81E5D2-F9A3-46E6-8AE4-648B8811C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0974E80-C226-402E-B6E3-C1151206D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AD75797-4809-4111-B328-3080EACF7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C7484AE-0E92-4A6C-9670-143B0B657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51154A3-1573-4914-97FB-DA66C08FB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594FB6A-4FE7-4463-93E7-819AD8A08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C80C95E-5202-446D-B2D0-E9DC3B425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0813078-81D7-4932-B817-E36FD9F18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F34DF05-32C7-442C-B956-9AF925D76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DD50A0F-2E3C-48E4-B027-335E45E01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1957986-D719-42D7-B09F-9AB0726BB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3BE14FE-B16B-4433-AEC5-5914FFB33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36C992C-9B79-4BEE-8A35-45907E428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34D1164-4979-47AA-B02B-17E98BA69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E0C413E-6F8A-435B-B140-ECBC4AC6C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98503AD-68AA-4DB6-B41F-309C89C16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0AC4B48-E7E0-4E33-8A55-1D64093BF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50A21B6-6204-46F6-87A3-7E9CD79F4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B465D3F-2271-45CC-84B0-11217A94E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FF2086C-D6A9-471C-ACA2-3D3EA818E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6EA2546-AB45-4E59-BB37-5C17207EF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8C577CB-ACB2-4A56-9A30-720AD7906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8A6D7BC-7E0E-483D-BCAD-D381E24A4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C368E82-7EAF-4603-AC5F-1FCD886C8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1BE070A-7F5D-4FEE-AB0E-80A0F9FA9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7A14EC6-E02E-4343-8C39-A0BEFD06A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033C2D7-2762-4B9A-9481-C011AE603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04F3D73-3F3E-4578-82D9-9B630C50D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A101631-CA5C-4F0B-B1B6-2105541C8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FDC2603-4B28-43CC-99EF-50EA14D8B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FBE15D4-FDD2-4DE4-8A41-07021D5DC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C32D030-6756-4536-A61A-8E42FDA10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86864D4-433C-494F-B777-752D20FA0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BA0FC0A-9F83-4807-836C-403426B04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194</c:v>
                </c:pt>
                <c:pt idx="1">
                  <c:v>0.2027</c:v>
                </c:pt>
                <c:pt idx="2">
                  <c:v>0.3207</c:v>
                </c:pt>
              </c:numCache>
            </c:numRef>
          </c:xVal>
          <c:yVal>
            <c:numRef>
              <c:f>Sheet1!$B$2:$B$4</c:f>
              <c:numCache>
                <c:formatCode>General</c:formatCode>
                <c:ptCount val="3"/>
                <c:pt idx="0">
                  <c:v>0.695</c:v>
                </c:pt>
                <c:pt idx="1">
                  <c:v>0.7269</c:v>
                </c:pt>
                <c:pt idx="2">
                  <c:v>0.6906</c:v>
                </c:pt>
              </c:numCache>
            </c:numRef>
          </c:yVal>
          <c:bubbleSize>
            <c:numRef>
              <c:f>Sheet1!$C$2:$C$4</c:f>
              <c:numCache>
                <c:formatCode>General</c:formatCode>
                <c:ptCount val="3"/>
                <c:pt idx="0">
                  <c:v>5275.419354838709</c:v>
                </c:pt>
                <c:pt idx="1">
                  <c:v>1055.75</c:v>
                </c:pt>
                <c:pt idx="2">
                  <c:v>4560.02531645569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C809FAC-4E7E-4ECD-8E01-9D42C36E2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D30795C-DD60-4CCD-A89F-575887B06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584F0AD-7477-40A9-B586-AC8B3AF16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724664F-5FD6-48F9-992B-DDBB31F88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50253B6-FB45-494B-B587-25CCFDA2D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EF13F9B-4DCD-4759-8CC9-7738B6B5E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3454767-54D5-49B0-AAB9-A93E52D4B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FE0C37-087B-4223-824B-8ECFBE5AA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015C4AD-C340-4B37-9A53-7D6B507ED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E35F97D-F0F3-4FFD-B5B1-12B07FDE5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324490F-CF5A-4684-BA95-7362E04B0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F35BE8F-9A97-4B52-A41F-CB5833004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27AD590-11DC-47D7-9EC0-83E63B9D1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3CC8EF8-50E7-40A7-AC20-932A3D7E7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2D2A590-1AC8-4C40-8541-0433F1CC0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994DF7E-E751-466A-B27F-02F7E9E1A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4CBFB7A-3436-4309-907E-FA29F3617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C513536-7CE4-4FD3-BA26-149697D49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215F2EC-5A72-492E-A9D4-F5EDF5C85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17D85CF-F348-485E-8445-B479F0E3E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35FA7FA-0A3A-44A5-9CF3-2FC00E334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C842736-96A5-438D-81AE-4999FAC90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F2DA2C0-72AE-47F7-A4B0-BB3CAEE4B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ACFCC03-C87E-44BD-B08E-C57EAB763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A5B075E-F514-4FAB-BFD6-7A24FE8B7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AAB39CF-146F-4C0A-BFFA-2DA581D2B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C84D3AB-851A-404B-9FAC-FA524AFAD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C723EAB-29A3-4889-9542-39E0A16F6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ED247CD-B7BC-4D29-B471-FCB975B86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1A928B1-0FB0-427D-9E8E-9DB8F972E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7009BAA-ABFE-4BD9-8D79-B12CA2FAB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37F5E4A-0612-4A26-BAEF-1025F1F17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7782092-CBB1-4E37-84C6-3977128DC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D58C4F6-ECF3-45AC-8203-8BBBE8492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0139308-5D38-43A5-B108-D09DEA6C6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8523BD7-03E3-4176-8164-050A90815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7F630FD-FA5F-4A7F-8430-5CC49E3CB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8F13FD9-EAA7-41B3-99B9-B167DDA66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2BE2898-2922-4BBA-A0D7-4669AFEE4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A77CBB1-D3EF-4303-A7D7-07F4E1125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ADC6985-018C-4077-B44E-D5A914535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172BD48-141D-4791-A5A9-1B6353C51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0B6075A-5440-4681-8C85-D13270714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320AB98-163A-48A7-818F-7E02AE8DC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3D6F178-9395-4B52-9C9B-D9CFAD186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743134E-BAB3-482F-9732-1E7EB9322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B3D004C-E3D2-47A8-927E-29A2B49D3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3B45169-C737-4467-AEB4-0235E361C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B5A1CCA-2CCA-4A2C-B6EF-0D76B741B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425E345-BEB4-4F8B-BBFC-4C60A0BC0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E3B599B-DA7A-469C-BBE0-B59A22AC9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6659AAD-8868-49E0-A2E4-97E931C54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5699C1E-519A-4933-926C-E4DF5953D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8F27300-9E69-4EAC-AFD9-5AC1D7F22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3B54848-172D-4BEF-8475-7CC8B5109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E28E598-452D-41D9-ADE1-76CC73E9E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7EC6C5E-81B3-4B1D-9B9F-84C5E96B2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4</c:v>
                </c:pt>
                <c:pt idx="1">
                  <c:v>0.396</c:v>
                </c:pt>
                <c:pt idx="2">
                  <c:v>0.4292</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745.0597014925373</c:v>
                </c:pt>
                <c:pt idx="1">
                  <c:v>2624.685185185185</c:v>
                </c:pt>
                <c:pt idx="2">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6BCD08C-EFAA-44AB-A041-0B33E7BBC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E18A030-D7A3-4FD6-93DE-A924DBC17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CC5B6B-A1AA-4850-B5D0-541175FA5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EC4E587-4A30-448C-BC70-021D73EFA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05698EB-7B06-4A49-A114-E412118FB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0164D2-14CE-48E5-A9C8-8D7700B07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5334125-62A5-40ED-A071-44B19C16B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0EC2DD9-3C55-449C-A20B-40A0F8484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E3B7611-6841-440A-8928-B2B5CD733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33970B5-7BEE-4D4C-8C39-96B4FF321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5862E6A-8089-479F-9131-527E3B90E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F8CE17A-D04F-4755-AD0F-7A8201DAA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D7218E0-DFB9-4623-A4C6-DC88A07EE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3C812A3-6EE4-4C93-AD75-9C9534B37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3622F6D-B926-414F-A5E0-FB01B9A68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72F2A43-468D-469B-BC3B-D3AFCA2EC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1CAB335-27B0-4C98-819C-15844586C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2E79C2F-3D64-41D2-9B91-92A047C46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E3A8570-6853-43BF-8BC7-D75F57179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5B62182-8EB4-4D2B-A02D-A0AA8912B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2DA640-8A73-4F11-87DA-74E3284E6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819A393-95FA-40E9-9797-84B61E8A6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2B4D6D4-27FB-4EEC-86ED-478FFB517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B6301FA-52E7-4F6E-B310-524C4E5EA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ABA657D-636B-4CEF-A4F2-C7C7D6A3C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2B6C5EE-F9D9-4677-9196-B3FEC2E8C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1A9E639-6FC8-4D23-97F4-40D32ADD9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30A15EA-05DC-4974-8FCE-5B24912F9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8CF3539-6A76-4D39-8309-D7FB4EDA4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B88CFCD-FF14-48CC-A70D-28C9022B0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1234FA7-BA51-4AB1-82DA-D748CBADA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04F4ED7-998E-4B3E-BB16-E91C74EFC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379B04B-C304-4451-9453-6B970FAA1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66C3A7E-BBCB-4984-BB42-A772F30F9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9DB345B-2A63-4D62-8E3A-63C0D6266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AFCED72-1B5B-4E41-9005-2B07BABB0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D6D226E-911A-4813-B04E-1DE02F12F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A996EED-6D38-4364-9FA3-8667E83A4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B285A72-D013-4A07-9761-C9AEEC457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7A06FF0-D1E2-4494-AF67-A9C827545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99247BC-07FE-4B41-909C-147C326E9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541F454-7ACB-47DB-BFFD-5DFF74525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22CBE91-FBDF-40D2-BEF6-742D194E2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46105A1-0C82-4685-80ED-E0BFAB961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949D0C7-D92B-4391-9515-032314475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D618D2F-1306-4DA7-90A6-9206DE169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653ED8D-FDD2-471C-99CF-47A3A3630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59500C2-462F-4047-AFEE-7278AB5C7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D0653E5-F68A-469C-B510-B257288D0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318B20E-33DA-4B95-A081-7568B701E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8557F12-01DC-4E37-BFC7-9857BCBC4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A492163-0E8A-4DE8-9E90-6B3C5C8FD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702D611-2825-4A9E-B055-7914D506D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E305AF9-BAEA-4665-9F77-3B83B7314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AEA7EB4-A400-43EC-8533-84D9EEE32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237C3D6-BF84-4EC2-862D-724ED6D5E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B8BC8FA-D253-4765-AF75-3581A74AA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485</c:v>
                </c:pt>
                <c:pt idx="1">
                  <c:v>-0.9105</c:v>
                </c:pt>
                <c:pt idx="2">
                  <c:v>0.3205</c:v>
                </c:pt>
              </c:numCache>
            </c:numRef>
          </c:xVal>
          <c:yVal>
            <c:numRef>
              <c:f>Sheet1!$B$2:$B$4</c:f>
              <c:numCache>
                <c:formatCode>General</c:formatCode>
                <c:ptCount val="3"/>
                <c:pt idx="0">
                  <c:v>0.6969</c:v>
                </c:pt>
                <c:pt idx="1">
                  <c:v>0.7947</c:v>
                </c:pt>
                <c:pt idx="2">
                  <c:v>0.6902</c:v>
                </c:pt>
              </c:numCache>
            </c:numRef>
          </c:yVal>
          <c:bubbleSize>
            <c:numRef>
              <c:f>Sheet1!$C$2:$C$4</c:f>
              <c:numCache>
                <c:formatCode>General</c:formatCode>
                <c:ptCount val="3"/>
                <c:pt idx="0">
                  <c:v>914.0</c:v>
                </c:pt>
                <c:pt idx="1">
                  <c:v>839.0</c:v>
                </c:pt>
                <c:pt idx="2">
                  <c:v>7307.55357142857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873E52F-61F9-41F4-9C23-98530651B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D1C5E94-D667-4CE8-9AC8-F2EF6E30E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DE95787-24D1-4246-AB53-C55CF2D80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BE44859-2CAC-4EEC-A0A0-1FA263B99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6CEFF0B-C1BD-49FB-8D1F-640B51604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D8C6D38-2290-4709-B940-B09BF0477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C732A61-CA0E-4D8E-8474-146005D74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7603D93-8B76-4F84-8F9B-15143139E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572</c:v>
                </c:pt>
                <c:pt idx="1">
                  <c:v>1.8017</c:v>
                </c:pt>
              </c:numCache>
            </c:numRef>
          </c:xVal>
          <c:yVal>
            <c:numRef>
              <c:f>Sheet1!$B$2:$B$3</c:f>
              <c:numCache>
                <c:formatCode>General</c:formatCode>
                <c:ptCount val="2"/>
                <c:pt idx="0">
                  <c:v>0.6256</c:v>
                </c:pt>
                <c:pt idx="1">
                  <c:v>0.6006</c:v>
                </c:pt>
              </c:numCache>
            </c:numRef>
          </c:yVal>
          <c:bubbleSize>
            <c:numRef>
              <c:f>Sheet1!$C$2:$C$3</c:f>
              <c:numCache>
                <c:formatCode>General</c:formatCode>
                <c:ptCount val="2"/>
                <c:pt idx="0">
                  <c:v>10963215.676699987</c:v>
                </c:pt>
                <c:pt idx="1">
                  <c:v>9131649.9624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6204"/>
          <c:min val="0.5257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393244343392"/>
        <c:crossBetween val="midCat"/>
      </c:valAx>
      <c:valAx>
        <c:axId val="1011451359"/>
        <c:scaling>
          <c:orientation val="minMax"/>
          <c:max val="1.11072"/>
          <c:min val="0.2404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7729172739596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316588E-30FB-44A9-A253-312120140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B21063D-F6FB-4AA9-8C1D-D0871C4F8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8A6D56-8A49-4B2B-A9E9-704208FC3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7AFACB-0459-4465-903A-08CDA4FBF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822E164-2127-4C43-B576-B5C38C1C8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A7C14B1-1D9D-43CD-BFCE-57DA107FD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8194695-ED25-4EBD-8465-2B3D28773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A14006D-A0CE-4E4B-8866-44BF8E242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A6B3220-C52A-4F5E-9915-1A5C5316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99A7DEA-27A1-467D-BC35-473AE28AA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2D3CD03-BCAD-4B1F-907D-4336643B4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04A96A5-BA2F-4031-B2DD-91821564E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E649DAF-4C27-4C67-88A0-4FBB05C94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977A2CF-8C9C-42DF-AF7E-C8F7DB564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41C1731-8DD7-41BF-83C4-78CFB108B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0291232-1E95-4311-8328-B9553D03E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D1C69F7-29D5-45B9-BA77-E1831B1BF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33A40D0-EB50-46C3-A676-E7921DB33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C17A344-8214-4514-AC6B-1B0230888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E7B92AA-62E6-4BE3-A184-A706C94B0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DAFB52D-F42B-4017-B0C9-733AE16FD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FF92EAE-FEAF-46CB-BF37-A342CBD82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024F139-5E74-403B-895B-1A0CA1059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752AB53-8921-4DFA-B72F-2F8BFAF10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4B444C4-1986-4A61-8C54-6159CDF00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7CF6E4A-245A-4C44-9C36-2CD7EFA10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AD7B142-AD18-403E-90C8-C133E1BD3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9FF564E-2DBF-40A6-B2DE-B32EC6E48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C86255E-ECD5-47B0-AD2C-D4E75C362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0B2A11F-5D52-419A-8D2E-03E4F94AA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F360169-70B4-428B-B8D8-C27FDA94D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08A6D61-B06B-41F7-BF18-5045A79AF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998717F-65A4-4A5E-B20A-8CC0F83D7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7C4BB5F-764B-40BB-8EFA-DA626E255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77D13D9-B67B-45AF-B8AD-D4D799A8B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5F30799-CD73-480D-9C84-1C03E5009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5572180-7808-4B38-8956-C0F92BE2A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B2B069E-5BF3-419B-8DF8-8F64F571E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C1D055E-B480-4152-B1FB-8EF1E0B76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D2D8029-F871-49E6-9A92-61601A619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1D0DE62-399E-467E-9082-051030C7E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4D8B02E-D2FF-4711-ACB8-C7DA20E4A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5046910-D504-44E9-B36E-4A79BC5B7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D001CC9-B541-4AC7-BA47-B3EFE7C0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0D78CDC-88D5-4033-B9AF-78C60FD3A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1AFBE36-8394-4696-81DF-482E7CC60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BFD9B76-E5EF-4619-84C3-B9E08AE53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F9F2E51-7FF9-46B2-A664-E31465C0A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8FA8A70-F5CF-4676-A9CF-213E4DB07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5409EBA-BB96-4B9C-9EB7-7561EC5B4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6A23A35-8ABC-411D-9E18-CA5DD4EC3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384BA03-0D7A-49C3-B5CB-1EFB0DC89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E84D7A1-3574-43CB-AC44-FC01D52FF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48B9566-E6AF-478F-80E3-6721EEE71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E7B83AE-17C2-4219-9669-939DAC6A5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6F01E48-D5F6-47E4-BDE3-DECDC252F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429B426-C6A8-49A5-AF69-11C8BA072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9</c:v>
                </c:pt>
                <c:pt idx="1">
                  <c:v>0.3583</c:v>
                </c:pt>
                <c:pt idx="2">
                  <c:v>0.4303</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1148.3170731707316</c:v>
                </c:pt>
                <c:pt idx="1">
                  <c:v>3361.8</c:v>
                </c:pt>
                <c:pt idx="2">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E070D08-63C2-4F72-A666-1249AE102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8B5878E-2CA2-47A1-AD85-F40AF89DB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D509EA7-EEDD-408F-91B6-32D3B5A05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BAD0D03-75E8-4A88-B905-DBD4C994E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76901A8-26C5-41D0-A247-78CDCC32C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8B1FE09-E81E-4AE9-A50D-98C8A93C0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C85D641-4AB5-452C-92DB-A5443522E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917FC78-4B95-464D-992A-3F2F57892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50CAAAB-84B4-434E-AA62-67D61CCC5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A5560E6-906D-4AB9-A478-78B2DAF83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5DF35CD-D0ED-435E-982C-6D9999640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CC3FF6-293C-4322-8753-028E094B9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B95269F-5350-4C85-8C8E-F1E447723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6FE3743-5D43-4DF9-9500-8AE510714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4123C52-4078-4856-AA82-13669585D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5DFDEFF-2304-4122-8DA9-28854281C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7374CBD-2F8E-412C-85FF-AF61C0247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82B3095-23F4-4BE4-8A40-AF2BD4687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34F875B-32C4-43B8-A564-ABDBD4E66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229BC18-94B1-419B-B97F-979223A7C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1C378E7-AC3A-4844-900D-09D7A8E68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248C199-C6F4-44A2-8E65-8DED3FEA9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C4CE563-6B40-4C19-A173-65224FBCB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66157C9-A105-46C8-84A5-831EC4A7E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76E8BE8-9C74-496D-9467-9AC36B5A6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D940A0C-3320-4584-9DE9-1CB966082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15C43F5-C323-4572-9E96-39DD73BA5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3087C6D-1E80-42CA-8EEA-33E47FF3F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DED21AA-8BD8-47CD-B71D-DB34E84FA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5D5B3AA-BDFF-413F-9423-FE4F33FCD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73FA314-F99C-4878-AB44-EDB78A1F1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1844E55-03F7-4ED8-8374-2B3FC0FA0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691CDE2-6D2C-4C5C-9FDB-0FC742FE2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C10B95F-C02A-4F96-96E5-D55D2AD82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9790C21-6747-44C8-BDB1-87EC5CC2C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0A69179-A355-43ED-AF00-1778CE963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FF249CE-D4CC-4137-ACDB-9BA970C9A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E3F4DDB-9337-4CE7-A959-242224125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94DD2F8-B093-4659-9A0A-40DF2F021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C901ABD-8C5D-46EB-B3B8-3BBEDF580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082518C-EB43-4CF2-82FB-ECE547417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6326E53-681B-429B-AFDB-04D61DEA7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2C42443-2013-400D-8D96-7BD414411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C8E2369-91CD-41CD-8F4A-6809526B8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D2717FC-2EF7-4AC1-A48E-59DD32A79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2F66FD2-DA47-42FA-A78D-B776F8BB3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762614D-C6A7-4172-8EC4-B3BCF603A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CF1451F-83F0-4371-A0A1-B2D0ECF07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32404F1-35B4-4024-AC17-3A9A0B654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B9AC35F-F122-42D1-87AC-6FD29B845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C2D3485-F19E-44ED-82B1-68339F0B6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1FD5946-DAF7-41CF-B575-CA4A52AD7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E4FF4F5-A2EE-48EF-A12B-EE043D276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997F925-E53F-4547-B737-A4C564E26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E52BB7D-59C0-4CF5-9534-6E75D2DBF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701AA75-47DD-4036-99AF-64CB7502E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146240C-20B2-408F-A81B-EDBA24334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683</c:v>
                </c:pt>
                <c:pt idx="1">
                  <c:v>0.2205</c:v>
                </c:pt>
                <c:pt idx="2">
                  <c:v>0.3464</c:v>
                </c:pt>
                <c:pt idx="3">
                  <c:v>0.2843</c:v>
                </c:pt>
                <c:pt idx="4">
                  <c:v>-0.6417</c:v>
                </c:pt>
                <c:pt idx="5">
                  <c:v>0.3211</c:v>
                </c:pt>
              </c:numCache>
            </c:numRef>
          </c:xVal>
          <c:yVal>
            <c:numRef>
              <c:f>Sheet1!$B$2:$B$7</c:f>
              <c:numCache>
                <c:formatCode>General</c:formatCode>
                <c:ptCount val="6"/>
                <c:pt idx="0">
                  <c:v>0.797</c:v>
                </c:pt>
                <c:pt idx="1">
                  <c:v>0.6948</c:v>
                </c:pt>
                <c:pt idx="2">
                  <c:v>0.7142</c:v>
                </c:pt>
                <c:pt idx="3">
                  <c:v>0.7271</c:v>
                </c:pt>
                <c:pt idx="4">
                  <c:v>0.7947</c:v>
                </c:pt>
                <c:pt idx="5">
                  <c:v>0.6903</c:v>
                </c:pt>
              </c:numCache>
            </c:numRef>
          </c:yVal>
          <c:bubbleSize>
            <c:numRef>
              <c:f>Sheet1!$C$2:$C$7</c:f>
              <c:numCache>
                <c:formatCode>General</c:formatCode>
                <c:ptCount val="6"/>
                <c:pt idx="0">
                  <c:v>789.0</c:v>
                </c:pt>
                <c:pt idx="1">
                  <c:v>66122.91836734694</c:v>
                </c:pt>
                <c:pt idx="2">
                  <c:v>5990.285714285714</c:v>
                </c:pt>
                <c:pt idx="3">
                  <c:v>19381.2</c:v>
                </c:pt>
                <c:pt idx="4">
                  <c:v>4359.0</c:v>
                </c:pt>
                <c:pt idx="5">
                  <c:v>57541.38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E2B4E86-2698-44F9-90CC-BA2A56E1F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FBF8CF1-7C77-4038-AC6C-006DF0CDD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2E491D1-0B21-4D5D-A187-C7208A22A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3E2DD59-B45E-4CD5-AFA8-4045C5103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99391B3-C3F2-4924-AAC0-6D459DFA4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2E457C7-FBE0-49B1-8E2C-272394D29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150E7C6-7241-4B2E-AF17-A3233BEF6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9A8977-8F16-46D8-8AC1-8F974CF43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F0FE141-1AC5-4844-A782-DC00E4472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6AE8663-B72A-488C-B6D3-35AF931B0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9F3C839-9540-4C8E-BA41-6514D14B9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9323230-3F2E-47EE-BDD7-5963FCCB6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32783E5-57CC-49DD-A256-23CE9E698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EBB312A-65A5-447B-80C2-FB50751BF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4145FB3-5213-4489-A11C-AB4B8C8BF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D9B50D4-1993-4885-AB45-BE24A61FE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8430031-841A-46AA-8D93-50CC7267C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DEC3328-7197-4CF3-89ED-CAA05191A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0F16034-B9DE-4181-AA8B-8517B1C40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2A8A2F7-AD03-4A8B-8F57-0A367AED4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5BC4A12-EE42-465E-98AA-5F0543B55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0F5D0F0-3613-4F37-A510-471054ED4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BB0E931-AE93-4BC2-99B8-927A22402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D77339C-0C9C-4718-BE09-343610A73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2BBEC0E-5476-4DBC-A33C-75EE7814F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86261F9-B599-492B-B9BB-0CBBD1EAE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F1FD928-343D-402D-8565-108CE31A7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C134970-49F4-4138-BC43-773963B13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54AA361-73A4-45C8-962D-9CC58DD42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8CF8F4E-768D-4D01-9E0F-A2ED33F99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BEF8CCE-C930-4995-9A53-0B14C89C7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57A6D92-8298-4CB8-B51B-B0B86A3A9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05F6ACB-DDAE-405F-A56D-196076248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1824005-57D6-42DF-94B5-D36C9E014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AB76275-ECFA-41A4-9246-A40C3998E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92A3615-FC7A-4C02-90B6-1ACAAEFA2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F1B4BBA-E558-4BFD-9F09-6C73F3852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511E0F6-C6AD-4183-819D-14847226A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44986A3-0C26-4022-BF30-30C02EACC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D04DF6A-6293-46AE-88CE-235A17799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FFF29CA-AB63-4C16-89DE-DB5C7A9BD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D828DA6-A93D-4745-A1A9-A6DCD8985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714B352-E857-4B7B-B585-81B5D9790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634043A-8F31-46BD-AE1E-FA917EF03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C368842-7292-4390-A375-BB08DB238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90A1D8A-B309-43A9-88A3-9A6A4F05B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3F5169A-24FC-4692-9B80-E2BF786C8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549A8A2-F3A5-4182-9FD3-794315EF7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DFEE90A-E6CA-470B-A852-E10298C6A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0C8054C-8DE8-4951-AD9C-79310A9CE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921CD69-EB64-410A-944C-F3FD438F3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0D5C2C6-905B-486F-BAEE-64723A877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26CEE95-F75A-4F95-9B9C-D5C134153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54CF2D2-2264-49FE-B8A2-C64E4C4BD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16193B6-B25E-40C2-8527-A36355EDE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2EAC74C-58D3-4A8D-8F6D-78568345B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844510E-31F0-41B2-A2D9-1C7EF51B7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065</c:v>
                </c:pt>
                <c:pt idx="2">
                  <c:v>0.4301</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8564.56338028169</c:v>
                </c:pt>
                <c:pt idx="1">
                  <c:v>32905.13333333333</c:v>
                </c:pt>
                <c:pt idx="2">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E8B42C5-BAFC-4BCD-93A3-AEF1AB4DB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1D56433-8173-4881-89B1-1FBB8DDCA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75F271-A645-454A-94EA-A45B7E61B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460903C-3DA8-46B6-A4A0-7C34E8625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1A7F9F8-8414-4FAD-9813-5CD7BC543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DCC5883-5754-4ECF-8271-F616E8DBE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1773220-0B5B-41EC-8740-A7E299763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654B48B-D4E8-47CB-A33B-67573CB56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84EA5B8-CDBA-40C4-BD30-45903773A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50FD0DA-4AD5-4563-A2C7-56D0E23B4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FAB0179-B25C-40C6-B66A-EEB7AA06E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CCB935-09F0-4806-A745-AA1F8F2D2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8578776-6240-4505-BF45-3CA3F2CB0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DA18B05-62DA-4E50-8179-B872FB67E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8D6F2D3-9E1A-40EF-8420-0DD662083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113DCA0-B86A-45CE-A0D3-586402AC8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71016A7-F893-4FCF-9D02-282BB1567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AFFCFA8-A883-4166-8DBE-73C14B336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5215912-F9CE-4A1E-9CA1-D4903D948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2988830-20D7-4E71-A8AA-7F8784239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085887B-5826-4071-AC5F-33B7293F4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16E456A-38ED-43E9-98FE-44A2A5A32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5DC47DA-B567-4A80-8D39-FCFD2C40C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AE93FB2-1F42-43C1-A9E1-23FB33126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E70B5BA-7EBA-4A2C-A1BE-4AEE382DD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B158C04-1151-43F5-B20A-7B4887C2A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219C490-4A12-4DEE-A417-F9047F07C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8A5AA28-68AF-45F4-B467-92945E149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7D22323-7FE4-4239-9540-921E52AC3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A4166C5-A309-49E3-9839-EF29CA6E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959460D-BA6B-4D3E-82E4-32847DFA4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3337D67-6E52-4BDB-82B8-389E0B910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C525292-9693-4FB2-BEA6-DA5C16DDF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C4979E4-A10F-4DE2-9DC5-C9D8FF01E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2EC20DD-49C3-4AB3-A96D-FA2841120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256D958-1FA5-4FBF-897C-350BD95D6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6D9FD3F-7D57-4DDB-A333-8B5C29D9B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FBCAAB9-3961-43BF-B0FE-5A06590CF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791BDA5-A722-4CDB-8151-7157E2924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70731BE-311E-4074-A69B-B9AB7FDED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47896D7-4144-4738-92B5-4352ACF74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C3C32E1-8107-4796-A7DB-FE704E3B0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0FA1120-F774-44D9-93FF-CE2679AFD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3692351-B49E-4B40-BEB5-4DDD3AA65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183958D-A538-48A9-97F8-0B3559F46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113A7FC-4DDA-4DC5-B3C9-66F2B22CF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F177E3F-00CA-42F4-AC72-FE0357DE5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A3DC6E6-F9E4-4E15-93C4-310B6DDA9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BD212CA-BA3F-4BFE-8F08-1B8459E0C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31A7A4A-DFE1-4A31-BD97-E76B04CCE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290AD70-726E-4154-9E79-E1B6BF5ED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DCD1A0C-EE81-4FDD-BD07-4AF2C7A68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60AD653-3900-4C3D-B473-47779D525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42388B0-BE64-4629-91DE-6DF5E8F2B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8C4520F-285D-4953-84B3-13F47CF96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2F8B359-B8C0-48E8-A8F4-97BE05496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C58FD42-7A40-446E-9317-EF7F61878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3098</c:v>
                </c:pt>
                <c:pt idx="1">
                  <c:v>0.2917</c:v>
                </c:pt>
                <c:pt idx="2">
                  <c:v>0.368</c:v>
                </c:pt>
                <c:pt idx="3">
                  <c:v>0.3539</c:v>
                </c:pt>
                <c:pt idx="4">
                  <c:v>0.2194</c:v>
                </c:pt>
                <c:pt idx="5">
                  <c:v>0.3752</c:v>
                </c:pt>
                <c:pt idx="6">
                  <c:v>0.3585</c:v>
                </c:pt>
                <c:pt idx="7">
                  <c:v>0.327</c:v>
                </c:pt>
                <c:pt idx="8">
                  <c:v>0.2027</c:v>
                </c:pt>
                <c:pt idx="9">
                  <c:v>0.301</c:v>
                </c:pt>
                <c:pt idx="10">
                  <c:v>0.3579</c:v>
                </c:pt>
                <c:pt idx="11">
                  <c:v>0.3207</c:v>
                </c:pt>
                <c:pt idx="12">
                  <c:v>0.3568</c:v>
                </c:pt>
                <c:pt idx="13">
                  <c:v>0.3918</c:v>
                </c:pt>
              </c:numCache>
            </c:numRef>
          </c:xVal>
          <c:yVal>
            <c:numRef>
              <c:f>Sheet1!$B$2:$B$15</c:f>
              <c:numCache>
                <c:formatCode>General</c:formatCode>
                <c:ptCount val="14"/>
                <c:pt idx="0">
                  <c:v>0.3363</c:v>
                </c:pt>
                <c:pt idx="1">
                  <c:v>0.2544</c:v>
                </c:pt>
                <c:pt idx="2">
                  <c:v>0.5237</c:v>
                </c:pt>
                <c:pt idx="3">
                  <c:v>0.4895</c:v>
                </c:pt>
                <c:pt idx="4">
                  <c:v>0.695</c:v>
                </c:pt>
                <c:pt idx="5">
                  <c:v>0.6218</c:v>
                </c:pt>
                <c:pt idx="6">
                  <c:v>0.6039</c:v>
                </c:pt>
                <c:pt idx="7">
                  <c:v>0.6295</c:v>
                </c:pt>
                <c:pt idx="8">
                  <c:v>0.7269</c:v>
                </c:pt>
                <c:pt idx="9">
                  <c:v>0.6515</c:v>
                </c:pt>
                <c:pt idx="10">
                  <c:v>0.7677</c:v>
                </c:pt>
                <c:pt idx="11">
                  <c:v>0.6906</c:v>
                </c:pt>
                <c:pt idx="12">
                  <c:v>0.6351</c:v>
                </c:pt>
                <c:pt idx="13">
                  <c:v>0.5305</c:v>
                </c:pt>
              </c:numCache>
            </c:numRef>
          </c:yVal>
          <c:bubbleSize>
            <c:numRef>
              <c:f>Sheet1!$C$2:$C$15</c:f>
              <c:numCache>
                <c:formatCode>General</c:formatCode>
                <c:ptCount val="14"/>
                <c:pt idx="0">
                  <c:v>874.0</c:v>
                </c:pt>
                <c:pt idx="1">
                  <c:v>1094.75</c:v>
                </c:pt>
                <c:pt idx="2">
                  <c:v>3373.205882352941</c:v>
                </c:pt>
                <c:pt idx="3">
                  <c:v>574.65625</c:v>
                </c:pt>
                <c:pt idx="4">
                  <c:v>5275.419354838709</c:v>
                </c:pt>
                <c:pt idx="5">
                  <c:v>3032.8736842105263</c:v>
                </c:pt>
                <c:pt idx="6">
                  <c:v>999.2</c:v>
                </c:pt>
                <c:pt idx="7">
                  <c:v>506.07142857142856</c:v>
                </c:pt>
                <c:pt idx="8">
                  <c:v>1055.75</c:v>
                </c:pt>
                <c:pt idx="9">
                  <c:v>3945.977011494253</c:v>
                </c:pt>
                <c:pt idx="10">
                  <c:v>4372.0</c:v>
                </c:pt>
                <c:pt idx="11">
                  <c:v>4560.025316455696</c:v>
                </c:pt>
                <c:pt idx="12">
                  <c:v>413.27272727272725</c:v>
                </c:pt>
                <c:pt idx="13">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39AD356-E550-488E-AF5B-F49B13F5E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A027E85-ED94-46B3-9EE5-22FB2939E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C299A8-7072-46E4-92A5-40F37CBE8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82E565-1A8B-485E-863D-406910E0C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81B5DB7-E009-443A-91B0-0C0337EC8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2991036-64EA-43B6-A29D-711FA50AE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476B3E0-4375-486F-B3AF-55B2B279E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FC4931D-BA17-4EE2-808B-793A32DC9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E35EA61-F5BF-4D3F-A0AF-FAA332C9D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F016BE4-1A33-4C5C-B5B1-B534B9F40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2685BCA-DE4F-4845-87EE-10CBC3F9F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2EF79E4-CEE6-4854-925B-9F690A775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BADDA63-0D62-4743-9AD3-41CFF70A4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13012AB-E1BF-41BD-89EF-690F27F82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DC49BCA-8D4B-4D20-B9D8-695E5A173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E8FFFF0-FB6A-41C0-A6DE-9C53DCEBA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02946DE-5F58-4E8A-8EF7-21EEDC8A3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E312460-A3B9-4046-88AB-EA278FC91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1866BF3-7BB2-4604-8DC4-16F098083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2C00FC9-D86A-46E4-BEF5-4AE144B12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3F27662-1E99-48EB-9D49-52B530F25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0DC6339-0CC8-4DE3-9E3C-C198A8C92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8CBE9F9-58FF-418C-AD5F-64391C41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2EDC531-E7F5-4265-B885-721902AE0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60AD41-2D13-4BAF-9179-AF2842E0D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F2B45B5-6F11-44B2-85E2-B4BE18AD0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B07866D-920D-4ABD-A53C-FFDF40086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A1AE28F-9227-40A8-8D8F-19F5B9B0A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1A60032-1832-450B-87DF-41E0298D7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BD5C3BF-8AE7-4929-BFB1-75DA3F81E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8D987AC-6FC7-4348-8491-19E757BFD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3231A57-A95F-44C6-AE2C-43AEE4E82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5DE7DF7-2783-4D4A-91A9-741207ED0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7C31396-BC5A-4910-BD8A-491B9612C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8AC45D1-2402-4990-AA6D-6B7501A9A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C761A09-4525-4B97-9450-C3E1E2271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E728BD1-7478-45C9-A5BC-9CBE473EB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4CE8126-EF59-44B0-BF41-4F71E0DC0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3151F32-2935-46A5-8CBB-777CB2444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52C0EC8-FB8A-4112-B471-5E2AB00DF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5D9F328-C708-468F-BB96-00468390E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E4B49F2-5045-42A4-8859-6999CD2FC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B6A6955-3A09-4D57-B70C-3EA753E24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DA2DDE9-A509-4627-ABB9-C1FEE3113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5C2E735-4EF8-4BE3-9582-F30253B5F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BF0EE4C-8DC3-4116-8424-E31870889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64A37AE-8521-43EC-8F14-06FEF714A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9C2A593-8A36-4A8D-8C73-B4AA6E643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D243E97-03E7-43F2-A870-B7CA44FCF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B53FEBC-CEA3-40CA-8433-8D4FDF18B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711D86C-1988-4245-8F57-7CDC6A4FC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6700216-8E35-4875-8EBA-321E8D363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C58EFF0-176F-4A2F-AB07-288CE842C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E330915-DA56-409D-B2EB-07094705F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C2DAABE-D0CB-4D2B-9C1C-86F46D32A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324E892-1AEF-4E9B-8867-2A539A624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969FF5B-200E-4B28-B67A-A057C113B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1</c:v>
                </c:pt>
              </c:numCache>
            </c:numRef>
          </c:xVal>
          <c:yVal>
            <c:numRef>
              <c:f>Sheet1!$B$2:$B$2</c:f>
              <c:numCache>
                <c:formatCode>General</c:formatCode>
                <c:ptCount val="1"/>
                <c:pt idx="0">
                  <c:v>0.372</c:v>
                </c:pt>
              </c:numCache>
            </c:numRef>
          </c:yVal>
          <c:bubbleSize>
            <c:numRef>
              <c:f>Sheet1!$C$2:$C$2</c:f>
              <c:numCache>
                <c:formatCode>General</c:formatCode>
                <c:ptCount val="1"/>
                <c:pt idx="0">
                  <c:v>47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F4C72DB-5AB9-478E-A372-EC56E1D1F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8F39827-50DE-45AD-A09E-6B3EAD16B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2F7A51-4B90-4E22-B48E-21124FAE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5EEA16F-27F7-4BF0-9C68-0A673F7E7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1A8D339-1641-415C-903B-8B111420A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EA61233-E273-4200-9C0E-375DA4313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8D244BA-F7A9-42FB-AF03-00CC2EDB6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A2BCAAE-7DCC-4EBE-9CEA-A937E6F8E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F841F65-4E39-44E6-80A8-BF46FF564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FE0B11A-F1C1-4826-8915-7F48B7801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F852063-706D-4ED6-B816-ADCB16AE8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2502110-4EA7-4E05-B5D0-0CAB6B23F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C496E82-99D7-42A1-B5A2-58E3FC598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B01DA70-ABE7-40F8-953F-B76964F01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5B07E11-04BA-41E7-A653-1B3ADFF59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A493C26-0448-468C-9AAA-7D9EF9946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0DDDBEC-A7F6-4076-94D3-B99677E68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F82FF85-9D09-4887-A22C-29E36DEE5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5392706-F6F1-4895-8719-7D4DBC4D5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ECB1216-CF53-4991-A965-245201DC3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5046323-988C-4344-9FC7-0ACE11B87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A0BD4DD-0C21-4BDE-B80D-8E3D5F831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7A49C8C-C02F-4013-9512-F66C3C270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A7AF176-A34A-4AA1-BD91-F85E6CD2B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552A708-50FC-4A88-AE6D-AA7FA8C33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2076AAA-7EE5-4E4F-AD98-7922DE1E4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5462007-2FEC-42DD-AE3B-C490BDC82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EB57AB8-58A8-4F59-8CA1-A29B96F4E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B5EEF63-B517-4A41-A4C3-3BB18FDE7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5B79F7A-7A22-4E76-82D0-FCE6545DE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7079F29-5A5A-4D52-B8A3-A951C1993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7395367-1B2F-4C82-A924-4BCEF433E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F8CD984-DFB6-4A3A-A10F-DB9699E51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1A63A77-9EBF-4E57-8864-7F6F9B8F4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401F4DC-A124-446F-A125-7A17C46FB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6500E15-00FF-46BB-8192-C5CAF5406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70ED3D6-4A93-4BC7-91DE-03B7265D4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CC138A5-8516-4CCE-8EAC-83697127F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6C5C564-EC41-4D60-8367-50E814B23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F35DE2B-C38A-4AE0-9729-22F4FDD8C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AC4D833-F29A-4737-84D4-AC908A475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6733E83-6ABC-4F7D-A8DC-DB03F433E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A8B7F09-E21D-481F-A9DD-D93C7447A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AEFD7A4-C573-49D0-B448-4C93FD246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CFB663E-8748-4B1C-B285-01DAC795D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260CB2D-8D6A-49EB-88A5-153A0F59B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93BFA7D-FBB5-4FDB-89AA-25D8B2AD5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8648E3C-54CF-4120-B100-06BD43201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9F0EC98-8F9A-4DB9-87FF-9B473EB59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2068A51-93E4-4849-BF2D-B39BEB3E5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8DCF847-AAB1-44F5-939A-C0604AD46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E140B0B-B6C3-4245-92C6-B0B25C335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464AAF7-2F8C-4B9A-80EF-CE28E0729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90B681E-4B9B-4EC1-BF20-53D88B115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469F58F-E3E5-496C-8135-9EB0B93E8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75C2FC3-18D7-4AE9-ABE8-805E4DF75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1E7F9AD-74DF-4420-8A1A-F43EAF397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87</c:v>
                </c:pt>
                <c:pt idx="1">
                  <c:v>0.4875</c:v>
                </c:pt>
                <c:pt idx="2">
                  <c:v>0.4532</c:v>
                </c:pt>
                <c:pt idx="3">
                  <c:v>0.3974</c:v>
                </c:pt>
                <c:pt idx="4">
                  <c:v>0.5509</c:v>
                </c:pt>
                <c:pt idx="5">
                  <c:v>0.4479</c:v>
                </c:pt>
                <c:pt idx="6">
                  <c:v>0.3088</c:v>
                </c:pt>
                <c:pt idx="7">
                  <c:v>0.4033</c:v>
                </c:pt>
                <c:pt idx="8">
                  <c:v>0.396</c:v>
                </c:pt>
                <c:pt idx="9">
                  <c:v>0.4292</c:v>
                </c:pt>
              </c:numCache>
            </c:numRef>
          </c:xVal>
          <c:yVal>
            <c:numRef>
              <c:f>Sheet1!$B$2:$B$11</c:f>
              <c:numCache>
                <c:formatCode>General</c:formatCode>
                <c:ptCount val="10"/>
                <c:pt idx="0">
                  <c:v>0.4911</c:v>
                </c:pt>
                <c:pt idx="1">
                  <c:v>0.4195</c:v>
                </c:pt>
                <c:pt idx="2">
                  <c:v>0.4934</c:v>
                </c:pt>
                <c:pt idx="3">
                  <c:v>0.6837</c:v>
                </c:pt>
                <c:pt idx="4">
                  <c:v>0.48</c:v>
                </c:pt>
                <c:pt idx="5">
                  <c:v>0.5166</c:v>
                </c:pt>
                <c:pt idx="6">
                  <c:v>0.0104</c:v>
                </c:pt>
                <c:pt idx="7">
                  <c:v>-0.0032</c:v>
                </c:pt>
                <c:pt idx="8">
                  <c:v>0.7091</c:v>
                </c:pt>
                <c:pt idx="9">
                  <c:v>0.7317</c:v>
                </c:pt>
              </c:numCache>
            </c:numRef>
          </c:yVal>
          <c:bubbleSize>
            <c:numRef>
              <c:f>Sheet1!$C$2:$C$11</c:f>
              <c:numCache>
                <c:formatCode>General</c:formatCode>
                <c:ptCount val="10"/>
                <c:pt idx="0">
                  <c:v>6191.265306122449</c:v>
                </c:pt>
                <c:pt idx="1">
                  <c:v>2192.542857142857</c:v>
                </c:pt>
                <c:pt idx="2">
                  <c:v>2490.9578947368423</c:v>
                </c:pt>
                <c:pt idx="3">
                  <c:v>745.0597014925373</c:v>
                </c:pt>
                <c:pt idx="4">
                  <c:v>2380.074468085106</c:v>
                </c:pt>
                <c:pt idx="5">
                  <c:v>2854.177777777778</c:v>
                </c:pt>
                <c:pt idx="6">
                  <c:v>1268.8556701030927</c:v>
                </c:pt>
                <c:pt idx="7">
                  <c:v>3147.919191919192</c:v>
                </c:pt>
                <c:pt idx="8">
                  <c:v>2624.685185185185</c:v>
                </c:pt>
                <c:pt idx="9">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10EE2ED-CC02-46B5-8338-6D7BCAD87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05EB014-42D2-4BAE-B8FC-056BAB51A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6CAB219-9599-4055-8C3E-9CC4A5962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9961C7-A3B7-4354-B7C6-07B13954C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A85E88F-6DF1-4C50-A8D6-C656F1E50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FC49712-A803-42A9-BE34-9C4EA660A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A5C4DCF-D05B-4FB6-B8B4-188605D36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43D9D3C-7174-4ECF-85ED-4CF27247C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DCC8ECA-D2DC-417D-A026-92BF28981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FC5C0B2-4B73-4FC8-B57A-C5FA971DB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3D3E351-DEBD-4521-B21C-DC6009CFA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2053430-C391-4D26-9E7C-F6C051E6B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D51544D-4628-48C4-813B-AD320616B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A56D30B-322C-40D0-8407-814164A92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EDD1D7F-A213-4A48-A988-2DBBF7002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3A877D0-EB5E-45B9-A97B-BD4CBD57E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D4523A3-8016-43F6-BFF2-0FDB494F7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042BA19-AF03-4934-8FF8-B2A0E26AA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4ECA572-E24A-44EA-ADA5-053B68150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31B9872-9695-45E0-8557-F2D2FC71D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06E9A80-BDFA-4805-A3FB-0D37BB2F0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58FDC47-403F-4DC0-90E6-5FDBE883A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F4E83BB-F08A-4044-88CC-E5C8E4EF7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DA8BE56-95DF-472D-B069-CCDBE200B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A7A339A-A07C-4BDA-BAE1-63E946FA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830ADCA-DB88-4E3C-AEA4-6691EB156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58ACDA6-7F3F-4B97-B68F-2888C3DFC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D977C43-66B5-4933-B544-2A86D2152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A63F20B-7192-48ED-A6EA-8DD3D33BD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A5805DB-145A-4A7A-A18F-53C112BD3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50883BA-358E-4AD4-B66B-94F6E2D6D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58544EE-2E41-4D03-A5F1-3331EC229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DD3CD2B-2900-4D81-8665-328EF1015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4BAE175-F047-4C44-912A-B503C8577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815C971-9B79-4C3B-A243-4F3052866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B9BC869-A4F2-4BB9-A7D5-778440D02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8EDB8FE-D8B3-43FD-AAAE-288FC19EE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9354C40-8B4E-495A-8940-18A77138A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CB4FFC5-0586-4358-97D7-7F7B5B7D7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22FDDED-02A9-4BC5-A205-0DACCBE62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928FDDA-223B-4119-9879-6C5049899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11BD976-7D99-4C45-83EE-C4007F317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0582D85-092A-423F-B93C-41179B7B8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EBBDD5A-67F4-4F10-847E-04D3BF2B0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12B3F16-654B-41F8-B00B-C5F41C73B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2EA0F5D-44E8-4E2C-B9AE-61D109767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9236012-5FF9-466B-9F37-E2C85FA47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8FB71FB-8175-405C-A6D3-3E412D623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4E1CC20-6A35-49C3-8A19-F877D262D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649D090-1FDF-41D6-BF67-39F097EA9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FDF2820-2D9B-43AA-9391-BB891A752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21802B6-8B96-404F-8DBF-9A576A543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0652358-1F31-4607-A617-D0B3548A5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C1F846E-F05C-44C2-8876-ABC62DF45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A033060-A0A6-41CC-AAC9-8A0F81998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40428E9-4195-4EAE-934E-58321CE93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E10106C-7F06-419F-AF68-0188229C0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6583</c:v>
                </c:pt>
                <c:pt idx="1">
                  <c:v>0.2604</c:v>
                </c:pt>
                <c:pt idx="2">
                  <c:v>0.2228</c:v>
                </c:pt>
                <c:pt idx="3">
                  <c:v>-1.683</c:v>
                </c:pt>
                <c:pt idx="4">
                  <c:v>0.3605</c:v>
                </c:pt>
                <c:pt idx="5">
                  <c:v>0.3455</c:v>
                </c:pt>
                <c:pt idx="6">
                  <c:v>0.2205</c:v>
                </c:pt>
                <c:pt idx="7">
                  <c:v>0.3698</c:v>
                </c:pt>
                <c:pt idx="8">
                  <c:v>0.3679</c:v>
                </c:pt>
                <c:pt idx="9">
                  <c:v>0.3185</c:v>
                </c:pt>
                <c:pt idx="10">
                  <c:v>0.2843</c:v>
                </c:pt>
                <c:pt idx="11">
                  <c:v>0.2945</c:v>
                </c:pt>
                <c:pt idx="12">
                  <c:v>0.351</c:v>
                </c:pt>
                <c:pt idx="13">
                  <c:v>-0.6417</c:v>
                </c:pt>
                <c:pt idx="14">
                  <c:v>0.3211</c:v>
                </c:pt>
                <c:pt idx="15">
                  <c:v>0.3489</c:v>
                </c:pt>
                <c:pt idx="16">
                  <c:v>0.3918</c:v>
                </c:pt>
              </c:numCache>
            </c:numRef>
          </c:xVal>
          <c:yVal>
            <c:numRef>
              <c:f>Sheet1!$B$2:$B$18</c:f>
              <c:numCache>
                <c:formatCode>General</c:formatCode>
                <c:ptCount val="17"/>
                <c:pt idx="0">
                  <c:v>0.6078</c:v>
                </c:pt>
                <c:pt idx="1">
                  <c:v>0.3363</c:v>
                </c:pt>
                <c:pt idx="2">
                  <c:v>0.2544</c:v>
                </c:pt>
                <c:pt idx="3">
                  <c:v>0.797</c:v>
                </c:pt>
                <c:pt idx="4">
                  <c:v>0.5237</c:v>
                </c:pt>
                <c:pt idx="5">
                  <c:v>0.4895</c:v>
                </c:pt>
                <c:pt idx="6">
                  <c:v>0.6948</c:v>
                </c:pt>
                <c:pt idx="7">
                  <c:v>0.6217</c:v>
                </c:pt>
                <c:pt idx="8">
                  <c:v>0.6037</c:v>
                </c:pt>
                <c:pt idx="9">
                  <c:v>0.6295</c:v>
                </c:pt>
                <c:pt idx="10">
                  <c:v>0.7271</c:v>
                </c:pt>
                <c:pt idx="11">
                  <c:v>0.6514</c:v>
                </c:pt>
                <c:pt idx="12">
                  <c:v>0.7677</c:v>
                </c:pt>
                <c:pt idx="13">
                  <c:v>0.7947</c:v>
                </c:pt>
                <c:pt idx="14">
                  <c:v>0.6903</c:v>
                </c:pt>
                <c:pt idx="15">
                  <c:v>0.6351</c:v>
                </c:pt>
                <c:pt idx="16">
                  <c:v>0.5305</c:v>
                </c:pt>
              </c:numCache>
            </c:numRef>
          </c:yVal>
          <c:bubbleSize>
            <c:numRef>
              <c:f>Sheet1!$C$2:$C$18</c:f>
              <c:numCache>
                <c:formatCode>General</c:formatCode>
                <c:ptCount val="17"/>
                <c:pt idx="0">
                  <c:v>1414.0</c:v>
                </c:pt>
                <c:pt idx="1">
                  <c:v>12997.022988505747</c:v>
                </c:pt>
                <c:pt idx="2">
                  <c:v>14923.912087912087</c:v>
                </c:pt>
                <c:pt idx="3">
                  <c:v>789.0</c:v>
                </c:pt>
                <c:pt idx="4">
                  <c:v>36036.28767123288</c:v>
                </c:pt>
                <c:pt idx="5">
                  <c:v>6147.757575757576</c:v>
                </c:pt>
                <c:pt idx="6">
                  <c:v>66122.91836734694</c:v>
                </c:pt>
                <c:pt idx="7">
                  <c:v>36195.333333333336</c:v>
                </c:pt>
                <c:pt idx="8">
                  <c:v>19149.166666666668</c:v>
                </c:pt>
                <c:pt idx="9">
                  <c:v>5750.290697674419</c:v>
                </c:pt>
                <c:pt idx="10">
                  <c:v>19381.2</c:v>
                </c:pt>
                <c:pt idx="11">
                  <c:v>42870.58620689655</c:v>
                </c:pt>
                <c:pt idx="12">
                  <c:v>44077.36842105263</c:v>
                </c:pt>
                <c:pt idx="13">
                  <c:v>4359.0</c:v>
                </c:pt>
                <c:pt idx="14">
                  <c:v>57541.3875</c:v>
                </c:pt>
                <c:pt idx="15">
                  <c:v>5099.131868131868</c:v>
                </c:pt>
                <c:pt idx="16">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87908F1-ED7F-4AF4-8E67-C7C46887A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DABC1D4-FB1C-45BB-A9F5-74FBCA206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62D736-63FD-4949-B72B-6BC7FEF05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6C91F5B-B54B-4504-8E6E-7E802A16A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DDD57D2-6E47-45AC-97B4-4577F4683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8E3959A-BE64-4E01-B22F-6C8D92DE9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D48074E-758B-47AE-9D14-0907A7D68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F456125-5D11-4315-8F4F-95694A895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C7DEDEE-9870-4F5F-B980-4911D8237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56E0A0E-919E-4649-8F46-9BF30DD9E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B57530C-2875-4D5A-A6DE-092040E33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380490A-FAD7-4718-90AD-17D87715E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90A6DC7-F526-453F-8AF2-65B31EC72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11CDA6E-26E5-4F09-836F-4972D9E24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9164F40-1DA8-4D95-8EC7-E234C919B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21FEF42-D526-4890-83F6-E79D4A274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B207D1B-5357-40BC-8173-CE9C8F0B7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BEB6CB0-B205-4999-AD18-8E635C664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6CCCF55-F4C3-4900-BEA6-1C838D632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380B329-D5BE-477C-B405-18CC1018B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FE4DFD4-4C49-444D-99A9-8D88B55E7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BF80AA7-6E8C-4FDF-B60E-78579DB57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2A7553E-3EA5-46E7-9309-F996D4341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204BE51-06CD-4F29-A797-B2B8F003E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073B7E8-4508-492B-9EFF-00D96EACC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EA80D40-527B-4D4B-BDD7-EBE616443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26DF21F-A592-4BAC-B71D-7EAEC4D8E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057E49D-482C-42C0-8D35-7D0E3D42B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9BFCD47-1171-48E8-AF25-BEB7D1626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0C0A554-928A-487B-B63D-15EC559AC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6221199-156F-4779-8FC1-92131334C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37B6120-A507-4D0A-8F15-FE9F35AF6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E494371-9763-4D79-9853-BFD5AFE29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3062025-DE8F-4231-BF09-3822D79AB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4846F7E-EBE7-4788-96BD-5878BE5B7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D693CB0-EF60-46D8-87B7-0FE092E7A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01FABDB-8BDB-4B57-A8FB-D5CD1F123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6FA6C2E-516F-4A81-ACD4-DEE77768F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CD37601-D9AD-4989-9D46-EFBB04E9E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FE47EBC-2116-4268-B188-108C7D7E9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009AE1D-2CAC-4EB1-8CFF-5E8C74F9A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83EAD4C-D142-4797-A45D-BCDDEE5F8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2A9C6E8-9F87-41DA-A611-2E1ECD4F1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E03EFBB-CAF3-43FF-B1F5-DB690B02E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166CF76-9DEF-485F-B5C4-8F686DC79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234EBB5-1949-403C-AEC2-6D1C1A86A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091CBCC-4D0E-4C61-A34E-73F635550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F30F3E9-7F5E-4671-8764-7B005DE53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91EB430-ECED-4937-BD58-635BC794E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2282CFD-6D73-4DA6-8C12-3EF37B0F1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84ACDDB-D669-42DD-A7BE-75E92E288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10BEB1B-C3D2-46C2-953B-2B070F192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B12E94C-BD21-405D-9B87-2CC2E7590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A3F2A81-D241-4668-BDCE-56D5014B3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ED13368-9ECE-4C64-8EF3-E0EA125F5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19193D0-163B-4C81-82B0-DCBED0BAF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372E35F-CB55-48F9-B1D4-577D7C826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6</c:v>
                </c:pt>
                <c:pt idx="1">
                  <c:v>0.3464</c:v>
                </c:pt>
              </c:numCache>
            </c:numRef>
          </c:xVal>
          <c:yVal>
            <c:numRef>
              <c:f>Sheet1!$B$2:$B$3</c:f>
              <c:numCache>
                <c:formatCode>General</c:formatCode>
                <c:ptCount val="2"/>
                <c:pt idx="0">
                  <c:v>0.3715</c:v>
                </c:pt>
                <c:pt idx="1">
                  <c:v>0.7142</c:v>
                </c:pt>
              </c:numCache>
            </c:numRef>
          </c:yVal>
          <c:bubbleSize>
            <c:numRef>
              <c:f>Sheet1!$C$2:$C$3</c:f>
              <c:numCache>
                <c:formatCode>General</c:formatCode>
                <c:ptCount val="2"/>
                <c:pt idx="0">
                  <c:v>6680.846153846154</c:v>
                </c:pt>
                <c:pt idx="1">
                  <c:v>5990.2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1161BDC-2276-4AD6-AAD5-23F8FD70E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0FE831C-2C3D-4D2A-B910-231134BE6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F35D31-4681-42A8-A9F8-0F332C44A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3D7CEB-5507-4BB2-B67D-527F54224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19E910C-72E7-4A31-A1E5-097165064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A731ED3-A778-4351-9873-119C2E0F2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BCE40CA-8971-431C-9695-50BBA6D1D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DFD0FB-8E1F-4692-A0A4-E34EB3B4F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9511C2E-1F28-4061-B0C9-5CCAFC2BD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85B2570-3DC1-4C47-8891-9A1F7389B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2A411D4-7973-4C80-AEA8-FA5DA70B4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C74971E-92AE-4CC9-993E-7FB4FCD56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34055FB-2424-4E61-8D13-332236F4E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426E77C-6FEB-412F-A6BB-01E4242D0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198AB24-CEBD-4B20-817C-D9F83CA51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DB8BB4C-AD67-4CFF-BD9F-72764AD9D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E8B52EE-06B8-4E59-B8AA-2ED9E0D9F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7E73E4C-F07F-4E19-AE33-1E5CD0EC9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12E76A0-F295-419E-938D-C1E11E1E0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5DDDB8E-C947-4F3C-A407-F7A049435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60481E2-561F-4E74-A3D2-55F0C7EB8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A6D6A14-E3A7-418B-B5A8-9700EEE50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B7AF97D-27EC-46E5-89AA-5B9D8CBF0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0D52E39-269F-46E7-90D5-1D5FE35D9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7209101-85F2-4536-8A46-771DB0DFD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B14EA78-6A0E-42B6-A422-4B923C3AF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ABEBA02-6E33-4353-8BBE-8CECF5C0E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629A670-C147-41D8-B144-01AD439A6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DCB89CD-FA53-4558-9810-8114E838C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89BAF31-5188-47AA-9F17-F6A84107E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2F347F2-2B4D-4033-9EEE-17637D52D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D3BA006-C1CC-4366-B9E3-398DB0F37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DD8672B-DDD4-4AC5-8B6E-5E6828501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A2D9F4D-2E1F-4B2F-A4B7-A4FE43647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B43D21D-006E-4DB5-83DC-2F541637D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9DF6F75-172F-4A84-9716-2E5031A71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2828072-D1CE-4208-B626-2609982CD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EEBD19A-C283-4892-BE36-92FD7E1CE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AB12E1C-5BD2-45F0-AFD5-9BA13BB2B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19E3645-2524-4B61-893C-7496CB6C8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5D7CAE2-1718-4CAD-9AA4-2370E8166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3CA953D-4722-4D10-B140-A866580CD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C81AB07-14D0-41D7-80D5-E1C2A6841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74FE29C-2871-4C78-8211-1AE433B01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21DB0D5-5E7D-40B3-8F9D-A19BBD7E2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B9D5CD1-49B7-49A1-BE72-98ED73655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BAD9D12-6841-45F6-86C5-C8CCD8C42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DBBD753-75DF-4822-9568-7E06CA0AB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9EA64E8-B5FD-4036-8E6C-CAC9F6A12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D9C7815-3351-4C9C-917E-B86EE8146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73E5684-B9AB-4E5A-BF88-79B676A2E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DB1AEC5-6EC9-4442-B751-77547FD7E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9CF5525-F430-48DD-8BAF-2B0A3A741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B945F01-F380-47EE-9AF8-5FC146821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0BE49D9-583E-4A66-962D-5134BC383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323456D-BEDF-4A85-89A2-5AF244647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5CBA920-356F-4F12-9949-CECC6F416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33</c:v>
                </c:pt>
                <c:pt idx="1">
                  <c:v>0.4884</c:v>
                </c:pt>
                <c:pt idx="2">
                  <c:v>0.4467</c:v>
                </c:pt>
                <c:pt idx="3">
                  <c:v>0.3987</c:v>
                </c:pt>
                <c:pt idx="4">
                  <c:v>0.5471</c:v>
                </c:pt>
                <c:pt idx="5">
                  <c:v>0.4478</c:v>
                </c:pt>
                <c:pt idx="6">
                  <c:v>0.2977</c:v>
                </c:pt>
                <c:pt idx="7">
                  <c:v>0.4032</c:v>
                </c:pt>
                <c:pt idx="8">
                  <c:v>0.4065</c:v>
                </c:pt>
                <c:pt idx="9">
                  <c:v>0.4301</c:v>
                </c:pt>
              </c:numCache>
            </c:numRef>
          </c:xVal>
          <c:yVal>
            <c:numRef>
              <c:f>Sheet1!$B$2:$B$11</c:f>
              <c:numCache>
                <c:formatCode>General</c:formatCode>
                <c:ptCount val="10"/>
                <c:pt idx="0">
                  <c:v>0.4911</c:v>
                </c:pt>
                <c:pt idx="1">
                  <c:v>0.4198</c:v>
                </c:pt>
                <c:pt idx="2">
                  <c:v>0.4934</c:v>
                </c:pt>
                <c:pt idx="3">
                  <c:v>0.6837</c:v>
                </c:pt>
                <c:pt idx="4">
                  <c:v>0.4798</c:v>
                </c:pt>
                <c:pt idx="5">
                  <c:v>0.5166</c:v>
                </c:pt>
                <c:pt idx="6">
                  <c:v>0.0104</c:v>
                </c:pt>
                <c:pt idx="7">
                  <c:v>-0.0026</c:v>
                </c:pt>
                <c:pt idx="8">
                  <c:v>0.7091</c:v>
                </c:pt>
                <c:pt idx="9">
                  <c:v>0.7317</c:v>
                </c:pt>
              </c:numCache>
            </c:numRef>
          </c:yVal>
          <c:bubbleSize>
            <c:numRef>
              <c:f>Sheet1!$C$2:$C$11</c:f>
              <c:numCache>
                <c:formatCode>General</c:formatCode>
                <c:ptCount val="10"/>
                <c:pt idx="0">
                  <c:v>76941.12121212122</c:v>
                </c:pt>
                <c:pt idx="1">
                  <c:v>26568.493506493505</c:v>
                </c:pt>
                <c:pt idx="2">
                  <c:v>29486.863157894735</c:v>
                </c:pt>
                <c:pt idx="3">
                  <c:v>8564.56338028169</c:v>
                </c:pt>
                <c:pt idx="4">
                  <c:v>32042.24742268041</c:v>
                </c:pt>
                <c:pt idx="5">
                  <c:v>33695.24731182796</c:v>
                </c:pt>
                <c:pt idx="6">
                  <c:v>14956.69387755102</c:v>
                </c:pt>
                <c:pt idx="7">
                  <c:v>32799.73737373737</c:v>
                </c:pt>
                <c:pt idx="8">
                  <c:v>32905.13333333333</c:v>
                </c:pt>
                <c:pt idx="9">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4B8C934-617C-4EB0-9AAF-2CE3C4A1E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7756284-D073-4C2C-8658-D9185DF0C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392DAA-9ACF-406A-99EC-04D056CB3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C3F321-A8EA-4AEF-9F0B-FB9F9B58B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89C6DD9-0FF3-4D0C-914D-558334C33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562D897-01CF-49C1-AE89-F09DA25F6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2F9456C-270C-4746-AB42-23B24233E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73382EB-4184-4B63-B74C-1ED168744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5A8A15E-96CE-4A8A-8C44-1BB994AD9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80CE79C-0D5C-41BA-9967-31354CBD6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F92C70C-77D6-426C-8A6D-DDCC820EE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DAFCCB1-BCCC-43A9-80E1-A8F66AE2E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2465DF4-8711-4EDF-8E49-E62F7A9D2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1EFB810-744E-45FF-9B57-CB5C69B9A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7B76DE7-6BFE-464C-90A3-9E2900346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738F5A0-555F-488C-A330-280E308AF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6BEBECE-A5C1-4EC6-91E7-FC36BFFDF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44219CE-5583-4BB7-AA9D-9D293569A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41B931F-4DF6-48A1-A9E1-A7DF05BBE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E194354-FFE4-4CA1-8612-B8709F357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EBFEB27-DDD4-488A-8503-259A2914C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D3035DE-E26B-4F13-B32A-5A626E6A1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7B7AC59-40C7-43E0-A803-9AD8B7F62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D49E382-23D7-4018-85F7-0C39A2695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2569361-2809-4923-8C65-1BA13B64F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15E7490-E48F-49CE-BFF0-E3C8C3895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DA6CC6E-E6A6-43AC-976C-DB39F58C9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6F38E9B-5C8D-4C5B-8FA3-AAD487681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94FADC0-4BDB-4645-BD9A-CD6ECC12B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04CFF88-A42D-4B22-A298-8B65630F0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F8ADFCB-561E-4E77-9411-F49573DAC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F13969F-7DAF-411A-8512-5A178F629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163C3A3-DD2B-4984-B4A6-4F4E1B480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11CDBEE-290F-43BE-B9CF-26B5CA78B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32CDC3D-698E-4074-A668-583DD7643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1E6B7C1-E570-4771-B3A1-C40051F76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4476033-C627-41EF-AD29-B105DA3F1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5359E4E-8E87-4DB6-9FD3-A3B6BE460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0F16032-5D34-4C7C-87AA-C4BA6E9AD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9A8256C-2882-44A9-BAFF-6A12B6003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488F864-AD2F-4FDD-BB40-1148E2E2D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4E95D0D-51A5-419A-837A-D94B8367D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C58464C-1B60-4FA0-BBA8-7760548EE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80F634A-4E40-41F2-A02D-BDFCE15E6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E78FEB1-23BC-4264-9253-8CC58B162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D238D01-D498-4B21-A887-5776D182F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7DFAD71-6AD3-4C32-9EB9-4328EE377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6ED1879-5F00-4ABF-AEAC-9A6F7DE09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B9B78BE-571C-48EA-9C0B-85369B3B9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484F97F-D9FC-4F07-8273-B2F187030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22AC059-5E02-43CF-802C-1FFD68C45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870EDC7-BA78-4424-AAFC-E96AA6F3C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BBFF821-1FFE-4C55-B5B8-641C7AEE3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0494B99-8666-415C-8EEE-C70765C20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FF306E9-6443-47A9-9E37-A8C8D8B28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D07D6AA-621F-4BEB-A423-210BF987C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935B423-1A6D-4A72-86E5-E7CAD670B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6831</c:v>
                </c:pt>
                <c:pt idx="1">
                  <c:v>0.2606</c:v>
                </c:pt>
                <c:pt idx="2">
                  <c:v>0.223</c:v>
                </c:pt>
                <c:pt idx="3">
                  <c:v>-1.6975</c:v>
                </c:pt>
                <c:pt idx="4">
                  <c:v>0.361</c:v>
                </c:pt>
                <c:pt idx="5">
                  <c:v>0.3461</c:v>
                </c:pt>
                <c:pt idx="6">
                  <c:v>0.2203</c:v>
                </c:pt>
                <c:pt idx="7">
                  <c:v>0.3702</c:v>
                </c:pt>
                <c:pt idx="8">
                  <c:v>0.3675</c:v>
                </c:pt>
                <c:pt idx="9">
                  <c:v>0.3194</c:v>
                </c:pt>
                <c:pt idx="10">
                  <c:v>0.2809</c:v>
                </c:pt>
                <c:pt idx="11">
                  <c:v>0.2951</c:v>
                </c:pt>
                <c:pt idx="12">
                  <c:v>0.3517</c:v>
                </c:pt>
                <c:pt idx="13">
                  <c:v>-0.6721</c:v>
                </c:pt>
                <c:pt idx="14">
                  <c:v>0.321</c:v>
                </c:pt>
                <c:pt idx="15">
                  <c:v>0.3496</c:v>
                </c:pt>
                <c:pt idx="16">
                  <c:v>0.3918</c:v>
                </c:pt>
              </c:numCache>
            </c:numRef>
          </c:xVal>
          <c:yVal>
            <c:numRef>
              <c:f>Sheet1!$B$2:$B$18</c:f>
              <c:numCache>
                <c:formatCode>General</c:formatCode>
                <c:ptCount val="17"/>
                <c:pt idx="0">
                  <c:v>0.6078</c:v>
                </c:pt>
                <c:pt idx="1">
                  <c:v>0.3363</c:v>
                </c:pt>
                <c:pt idx="2">
                  <c:v>0.2544</c:v>
                </c:pt>
                <c:pt idx="3">
                  <c:v>0.797</c:v>
                </c:pt>
                <c:pt idx="4">
                  <c:v>0.5238</c:v>
                </c:pt>
                <c:pt idx="5">
                  <c:v>0.4895</c:v>
                </c:pt>
                <c:pt idx="6">
                  <c:v>0.6948</c:v>
                </c:pt>
                <c:pt idx="7">
                  <c:v>0.6218</c:v>
                </c:pt>
                <c:pt idx="8">
                  <c:v>0.6037</c:v>
                </c:pt>
                <c:pt idx="9">
                  <c:v>0.6295</c:v>
                </c:pt>
                <c:pt idx="10">
                  <c:v>0.7271</c:v>
                </c:pt>
                <c:pt idx="11">
                  <c:v>0.6515</c:v>
                </c:pt>
                <c:pt idx="12">
                  <c:v>0.7677</c:v>
                </c:pt>
                <c:pt idx="13">
                  <c:v>0.7947</c:v>
                </c:pt>
                <c:pt idx="14">
                  <c:v>0.6903</c:v>
                </c:pt>
                <c:pt idx="15">
                  <c:v>0.6351</c:v>
                </c:pt>
                <c:pt idx="16">
                  <c:v>0.5305</c:v>
                </c:pt>
              </c:numCache>
            </c:numRef>
          </c:yVal>
          <c:bubbleSize>
            <c:numRef>
              <c:f>Sheet1!$C$2:$C$18</c:f>
              <c:numCache>
                <c:formatCode>General</c:formatCode>
                <c:ptCount val="17"/>
                <c:pt idx="0">
                  <c:v>1754.0</c:v>
                </c:pt>
                <c:pt idx="1">
                  <c:v>14944.044795783924</c:v>
                </c:pt>
                <c:pt idx="2">
                  <c:v>17159.559193954658</c:v>
                </c:pt>
                <c:pt idx="3">
                  <c:v>897.7777777777778</c:v>
                </c:pt>
                <c:pt idx="4">
                  <c:v>42879.101283880176</c:v>
                </c:pt>
                <c:pt idx="5">
                  <c:v>7261.435331230284</c:v>
                </c:pt>
                <c:pt idx="6">
                  <c:v>75823.49665924277</c:v>
                </c:pt>
                <c:pt idx="7">
                  <c:v>42642.53684210526</c:v>
                </c:pt>
                <c:pt idx="8">
                  <c:v>21416.964285714283</c:v>
                </c:pt>
                <c:pt idx="9">
                  <c:v>6803.554502369669</c:v>
                </c:pt>
                <c:pt idx="10">
                  <c:v>21518.936170212764</c:v>
                </c:pt>
                <c:pt idx="11">
                  <c:v>51342.777129521586</c:v>
                </c:pt>
                <c:pt idx="12">
                  <c:v>52579.06283280085</c:v>
                </c:pt>
                <c:pt idx="13">
                  <c:v>5644.0</c:v>
                </c:pt>
                <c:pt idx="14">
                  <c:v>68443.00636942674</c:v>
                </c:pt>
                <c:pt idx="15">
                  <c:v>6009.776785714285</c:v>
                </c:pt>
                <c:pt idx="16">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AA44DFF-4829-4BB4-86BF-572821490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D385F3B-00B9-4677-B6E4-23D12B8FA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EBAB2E1-DEB8-41C7-98EA-7F6E42177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73FC4A7-9179-4556-82C8-80CDD691F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823C1C0-D76F-4534-BB97-85A2BE3D7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8EFA4F3-550B-4DD5-8566-7449DADC6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135007E-3BA2-4480-9EEB-DE70B0EFB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6341DED-9625-499C-9544-4FFC0AB3A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93</c:v>
                </c:pt>
                <c:pt idx="1">
                  <c:v>1.324</c:v>
                </c:pt>
              </c:numCache>
            </c:numRef>
          </c:xVal>
          <c:yVal>
            <c:numRef>
              <c:f>Sheet1!$B$2:$B$3</c:f>
              <c:numCache>
                <c:formatCode>General</c:formatCode>
                <c:ptCount val="2"/>
                <c:pt idx="0">
                  <c:v>0.3686</c:v>
                </c:pt>
                <c:pt idx="1">
                  <c:v>0.6553</c:v>
                </c:pt>
              </c:numCache>
            </c:numRef>
          </c:yVal>
          <c:bubbleSize>
            <c:numRef>
              <c:f>Sheet1!$C$2:$C$3</c:f>
              <c:numCache>
                <c:formatCode>General</c:formatCode>
                <c:ptCount val="2"/>
                <c:pt idx="0">
                  <c:v>11591402.168600013</c:v>
                </c:pt>
                <c:pt idx="1">
                  <c:v>4851507.5233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88"/>
          <c:min val="0.2394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130610048286"/>
        <c:crossBetween val="midCat"/>
      </c:valAx>
      <c:valAx>
        <c:axId val="1011451359"/>
        <c:scaling>
          <c:orientation val="minMax"/>
          <c:max val="1.14636"/>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0163941876932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D6C56CF-318C-43AD-A2F5-DA025335B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4F13835-A308-4442-8838-4D6A6EF08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696DD2-C918-4D2A-B2FE-D46AFD409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FDBCD5-2976-444F-89CF-FF0D47E0F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3B82CBC-2F7C-4901-8AC8-5334CBBFD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6FA2AA-0513-4A40-A60A-B257B50EB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F8CD407-1F73-4486-B0D1-8BBA9DDDF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F7F6FAA-84BC-456E-9F7B-409FDECBC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C522961-DD52-4999-97D5-C0E65BB23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DD3C6C9-F8D6-4B3A-92BE-5DEBF2611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5C2B7AF-2D03-45E8-92A7-B3B5E09E5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9F7CB6C-1F22-4206-885A-18200AD6A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A29C83D-E1E0-4E48-8A43-E1C820024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B86ABE0-BBCE-4344-97CE-A6EF45CAD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2FF8D24-5BA5-4659-A782-F07104AEE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FCE85FC-B7F7-46FE-AA90-F05AB9DCF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ADA303C-77A3-4746-885F-D233EC6A3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5BE379-D1FC-4939-B260-444DBAAA7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00D0DE8-2655-41D6-90A5-C9B86A603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5DA5EAD-D838-4B5C-AE98-0B9A304F6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9EE8D52-D733-4F2F-B4DA-E68A5894E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19B3436-4E57-4850-9E76-4E39550BA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12B3D81-3B86-4341-A1FC-D802C46AC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FB86FA8-44F3-4E92-AC90-ACDA22B49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B4F3280-8C08-4CA5-99BD-2A51A4786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49F9334-A842-41E0-B9CA-34F47FB22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6AA7D8F-690C-4340-A706-9E9C1F1AE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19E013D-2A05-43D4-B5FD-5790E9E3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8ECFDB1-002C-441A-BE17-CA96C65B8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A2ECFFB-0B0B-4914-BE29-66CB664E1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4277FA6-3C75-4393-B712-41CB9960B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899E520-0649-4904-A13C-E86E1BB19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F691554-0812-43D1-99D7-2A927D542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0F01511-68DA-464B-8F38-D3A5C3D4C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5E94D96-E6A4-4D5B-8D4E-2AAEE36CF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55BFB4F-64D5-42C4-94C9-E58B1BFFB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56FADE8-0290-487F-B093-7BCDA1ACC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5144738-7427-42A3-B9B3-8C4F6A03F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93B2C0B-4D58-4F93-8D84-BF46A0EB0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BC1AD06-4374-4183-BFDE-549FEAA04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FF351B3-8334-42A1-B3C2-2BE8C3D1B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73434A3-D574-4D0C-A021-E95C18CF2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40EC723-6A4A-41FA-9DDA-CFE946A00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AB1B8B8-205F-4120-B3D0-E686B4A82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82524DB-844B-4F82-9000-A27028EFA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CAAA216-AB31-4306-BD7D-197488FDD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97C163C-0301-4B92-A340-463429FB5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5B3965E-3246-4B4C-ABE6-171CBE0D6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F8EC2C9-26E8-40A9-A4C6-23F95252E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C7ECB21-AEA3-4235-B5DB-0942241D2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91D8F14-6AE2-4DC9-B05C-6341BEEB1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4D7F23F-D826-4124-AE4C-87C056BFF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6C014C4-8271-4B11-8EBC-55CA68A82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448EDCB-6999-47B9-B84B-F94D6214A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DCD5513-FDC5-4F44-974D-301DDC81F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428E2B2-F2FF-462D-88F3-9491B972C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18CC2CC-3BFD-4C44-B409-733F46D8B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c:v>
                </c:pt>
                <c:pt idx="1">
                  <c:v>0.3456</c:v>
                </c:pt>
              </c:numCache>
            </c:numRef>
          </c:xVal>
          <c:yVal>
            <c:numRef>
              <c:f>Sheet1!$B$2:$B$3</c:f>
              <c:numCache>
                <c:formatCode>General</c:formatCode>
                <c:ptCount val="2"/>
                <c:pt idx="0">
                  <c:v>0.3715</c:v>
                </c:pt>
                <c:pt idx="1">
                  <c:v>0.7136</c:v>
                </c:pt>
              </c:numCache>
            </c:numRef>
          </c:yVal>
          <c:bubbleSize>
            <c:numRef>
              <c:f>Sheet1!$C$2:$C$3</c:f>
              <c:numCache>
                <c:formatCode>General</c:formatCode>
                <c:ptCount val="2"/>
                <c:pt idx="0">
                  <c:v>7625.128205128204</c:v>
                </c:pt>
                <c:pt idx="1">
                  <c:v>6750.3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56E3EAE-2908-4812-8E2B-28A6BF87F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BB41F20-165D-40DC-8E1A-F83DC0CB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53AAA2-0341-406B-923A-DCD5A8D33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26F4D8-495B-47D3-B96F-E81343628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D1E9FA2-6F12-48A8-A654-F701F478C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B10F879-E7E4-4A87-976F-43ABD3BF2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65808BF-3DA0-41D4-A451-B2BB47886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C8C7A21-7BF6-4A6E-A336-2E82C8125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BB476CF-C0FC-4384-B59D-6CE8C640D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9084721-04E2-4883-8002-32A70A25F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3B4F9A5-5249-4928-831A-FE7B563ED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AD61664-CB9D-4EE4-A16A-D2E6E8E09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FD8CC18-40A6-454B-9557-E54B4BFD3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C2FDE0F-D4FD-4CDF-BF86-926844E08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16A7F24-F13A-4B48-82FB-5816DCFF1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DF8B32D-DCE4-4B05-9084-4CA7BE9D8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AA8EE93-20C0-43A8-81FA-FDA56F2BE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1705B76-628E-4144-9668-E020B6560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A3029D7-9CA2-48E9-862F-CA624B501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CCBEAB2-E73D-4008-ADCF-AEFA3DC7B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E386454-20C3-48B4-8F01-B17489A85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A2EA8A7-6DEF-458A-B71A-EDF023DBA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864FC33-88A8-4CF4-BB0D-0C0D1CD54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183C008-8917-4F2B-83E6-5542F315D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C5E23D4-BCAA-4E57-B905-87CDD983F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901241F-4588-4056-A5A4-5B7B01F69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4EC469A-6CB9-4512-A0BB-92FD1D0BD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5AF9F38-1793-4542-BC10-BAFAAB9A9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2447BE6-C63D-4CAF-9829-99C4F7C97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BD1E850-2BB1-4393-9393-85D48FCFC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86C4750-0A72-4B80-B81C-E3C8E3019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9339449-9378-4965-AE6B-3BD1F0499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95B9A3B-1C74-421E-9C89-6899B9A51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DD90C9F-F3B9-4BE3-9A0F-B20013D9A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0F512B2-CFB0-4411-A798-501A21AC2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9AFAD1B-90AA-45B9-BAE6-62B8ECB3A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BF9DCE7-9228-450D-89DD-F6C25F499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984B463-3CCC-4E73-84C7-923F13F39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C29F2C9-6F43-4BC3-B98B-F2E9E3A4E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37AF9B7-CEFB-43BB-93FA-AE754AAE1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4DFB70C-F386-4551-9D8D-16857DB1F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85E4F9D-02C8-441D-AA98-ADFA37FD9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5DFA13B-3634-4D94-A0E1-6CF5B241A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5D205F4-2624-4823-B1C0-A28E84588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C2C172B-CF09-4C57-90BD-C1E98424C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E37C9E6-E7B6-4F28-90ED-8AF8CC115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EE7BB91-979F-49D2-B49E-00BACFA95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4288B75-ED3D-45DC-A9FE-320F98BA1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B28F9A5-7810-495B-A2A8-C828877DF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C9AA367-A6DD-4584-9383-4C11988C0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A624C33-5FC7-4B64-A25F-045F453E6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C208DDD-EA5C-4C00-8E1B-DFB5D1419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F7B0ABB-20BE-47EA-AED0-9C92333AA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7EEAA36-71B9-4E6C-9920-9BBD1EE0D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E6136B5-87B0-4ACC-ACF5-B37F31032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6169AA4-C571-414A-BF26-6CB398805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615E82D-3A15-4031-A7EC-38B654F84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051</c:v>
                </c:pt>
                <c:pt idx="1">
                  <c:v>0.4837</c:v>
                </c:pt>
                <c:pt idx="2">
                  <c:v>0.4884</c:v>
                </c:pt>
                <c:pt idx="3">
                  <c:v>0.4473</c:v>
                </c:pt>
                <c:pt idx="4">
                  <c:v>0.3987</c:v>
                </c:pt>
                <c:pt idx="5">
                  <c:v>0.5474</c:v>
                </c:pt>
                <c:pt idx="6">
                  <c:v>0.4477</c:v>
                </c:pt>
                <c:pt idx="7">
                  <c:v>0.299</c:v>
                </c:pt>
                <c:pt idx="8">
                  <c:v>0.4032</c:v>
                </c:pt>
                <c:pt idx="9">
                  <c:v>0.4029</c:v>
                </c:pt>
                <c:pt idx="10">
                  <c:v>0.43</c:v>
                </c:pt>
              </c:numCache>
            </c:numRef>
          </c:xVal>
          <c:yVal>
            <c:numRef>
              <c:f>Sheet1!$B$2:$B$12</c:f>
              <c:numCache>
                <c:formatCode>General</c:formatCode>
                <c:ptCount val="11"/>
                <c:pt idx="0">
                  <c:v>0.7386</c:v>
                </c:pt>
                <c:pt idx="1">
                  <c:v>0.4911</c:v>
                </c:pt>
                <c:pt idx="2">
                  <c:v>0.4198</c:v>
                </c:pt>
                <c:pt idx="3">
                  <c:v>0.4934</c:v>
                </c:pt>
                <c:pt idx="4">
                  <c:v>0.6837</c:v>
                </c:pt>
                <c:pt idx="5">
                  <c:v>0.4797</c:v>
                </c:pt>
                <c:pt idx="6">
                  <c:v>0.5165</c:v>
                </c:pt>
                <c:pt idx="7">
                  <c:v>0.0105</c:v>
                </c:pt>
                <c:pt idx="8">
                  <c:v>-0.0026</c:v>
                </c:pt>
                <c:pt idx="9">
                  <c:v>0.7091</c:v>
                </c:pt>
                <c:pt idx="10">
                  <c:v>0.7317</c:v>
                </c:pt>
              </c:numCache>
            </c:numRef>
          </c:yVal>
          <c:bubbleSize>
            <c:numRef>
              <c:f>Sheet1!$C$2:$C$12</c:f>
              <c:numCache>
                <c:formatCode>General</c:formatCode>
                <c:ptCount val="11"/>
                <c:pt idx="0">
                  <c:v>779.0</c:v>
                </c:pt>
                <c:pt idx="1">
                  <c:v>88856.37563451777</c:v>
                </c:pt>
                <c:pt idx="2">
                  <c:v>31615.113182423436</c:v>
                </c:pt>
                <c:pt idx="3">
                  <c:v>34693.635394456294</c:v>
                </c:pt>
                <c:pt idx="4">
                  <c:v>10233.439767779391</c:v>
                </c:pt>
                <c:pt idx="5">
                  <c:v>37190.41710114703</c:v>
                </c:pt>
                <c:pt idx="6">
                  <c:v>39700.24149286498</c:v>
                </c:pt>
                <c:pt idx="7">
                  <c:v>17923.486707566462</c:v>
                </c:pt>
                <c:pt idx="8">
                  <c:v>38983.218623481785</c:v>
                </c:pt>
                <c:pt idx="9">
                  <c:v>38536.181506849316</c:v>
                </c:pt>
                <c:pt idx="10">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12CA1D9-E4B2-49FB-84E8-B479B0A32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3545CF-5998-4CF6-B6F5-23006FE58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9FB1607-6301-472F-A83B-06784BEDF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3FDACDE-D50C-4127-8537-131E3F713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04B1923-BF7D-4E86-854D-17979A7CF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B29354B-9F8E-4B57-A0D3-E7625BAD5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8D5AB0A-9AA7-4848-80A0-69AF49048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BA85AB9-076B-4F81-8897-27151845C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5C04F58-3BF9-4F9C-B2D0-2C82BB97C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F495D61-3A55-44F7-9580-FAF86AFFB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8CB6C50-D40C-446E-9A75-543545FFA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1EA7F42-D346-412D-AEBD-F20D9C949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A64529E-55BA-4373-9FCF-60E44AC30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E381149-9CD0-4CB0-8854-863ECEBA4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DF44605-45B4-417D-BCF1-AC5E3D6BB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6856E98-E0F0-4F76-B903-261DA59BD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5B7EB90-2501-4B82-A402-A74FD87FF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98AA397-3E35-404A-B6D6-7823392B6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AD789EC-4043-4B53-9616-BC14AF34B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1DA894F-2140-48CC-9203-085626A72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84C6197-5F42-4092-AF5D-04C9FFC46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A6FE7C2-1468-42A9-9914-33D4C8ABD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BB9D397-A769-416A-807D-FF61970E6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5A091E2-AE4F-43DD-BF82-49812F224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B18974D-59D9-437C-AEBA-3AABD508F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7ADD5D2-0A36-49AE-94EB-843492FB1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923EBB3-B2D2-4C9B-BF5E-30E47C331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10CA8BC-9AA5-4A8B-B82C-856E68772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3F238EB-8165-4F1B-9AF7-8090291F5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DBFEA9B-D2DD-4BEE-8CB1-62BB8C0B0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B166DDE-055F-4A93-BAED-840860248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A2EBA1E-4B17-4A65-A1CD-C21F414D6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21D43CD-CB21-48C8-90DB-B70C78B53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955CC67-9163-4FB6-8C4A-26C339819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E440FBF-EEEE-439C-8D51-8AFDD870F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AD91B12-303A-4963-8273-2B7877EFE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0C8322E-11F0-4A46-979E-98E83AEB9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71F03F3-04ED-46D1-A383-5C4908432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138D39B-0AA3-41A2-9EC2-04027FE55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CAD4C28-430A-4A64-B1EE-649E054EF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C7C1501-1C0E-48EC-8E4E-2E277C1E0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9B0ED8D-5C3E-4CF4-898A-6E74C473E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5A7FF42-EA29-479F-877A-5B35AF260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C964FBF-E32B-41F1-AC6A-411BD58B7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405DC82-A0CF-4735-9C01-0601D403D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E075F50-85EB-4CC8-A15D-ECBC0DC17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EF42D85-AF36-478B-ACE7-5FE555191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B37BB31-E8C5-4ABF-93A3-D12F6286C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8A9A8DA-4EED-4AB8-8A92-A622D87CE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0523DC3-BA3B-4DE3-A935-DF954BEED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AA1030B-39B1-4401-9A2B-1AA05EB03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2D7868A-FAF7-421B-89F6-F5F0CEB7E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D6EF565-3623-4618-B038-39DDA6017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CB7DD12-ECA2-4F60-B447-B23954F63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4B1D468-F378-49C2-A974-C7E39426A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31D8CD7-BFA0-4526-9AC3-F14A0878A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5C1458A-4F72-4070-A935-605D8BF37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585</c:v>
                </c:pt>
                <c:pt idx="1">
                  <c:v>0.3458</c:v>
                </c:pt>
                <c:pt idx="2">
                  <c:v>-0.2485</c:v>
                </c:pt>
                <c:pt idx="3">
                  <c:v>0.3705</c:v>
                </c:pt>
                <c:pt idx="4">
                  <c:v>0.3215</c:v>
                </c:pt>
                <c:pt idx="5">
                  <c:v>0.2958</c:v>
                </c:pt>
                <c:pt idx="6">
                  <c:v>0.3532</c:v>
                </c:pt>
                <c:pt idx="7">
                  <c:v>-0.9105</c:v>
                </c:pt>
                <c:pt idx="8">
                  <c:v>0.3205</c:v>
                </c:pt>
                <c:pt idx="9">
                  <c:v>0.3506</c:v>
                </c:pt>
                <c:pt idx="10">
                  <c:v>0.3919</c:v>
                </c:pt>
              </c:numCache>
            </c:numRef>
          </c:xVal>
          <c:yVal>
            <c:numRef>
              <c:f>Sheet1!$B$2:$B$12</c:f>
              <c:numCache>
                <c:formatCode>General</c:formatCode>
                <c:ptCount val="11"/>
                <c:pt idx="0">
                  <c:v>0.5245</c:v>
                </c:pt>
                <c:pt idx="1">
                  <c:v>0.4895</c:v>
                </c:pt>
                <c:pt idx="2">
                  <c:v>0.6969</c:v>
                </c:pt>
                <c:pt idx="3">
                  <c:v>0.622</c:v>
                </c:pt>
                <c:pt idx="4">
                  <c:v>0.6295</c:v>
                </c:pt>
                <c:pt idx="5">
                  <c:v>0.6518</c:v>
                </c:pt>
                <c:pt idx="6">
                  <c:v>0.7677</c:v>
                </c:pt>
                <c:pt idx="7">
                  <c:v>0.7947</c:v>
                </c:pt>
                <c:pt idx="8">
                  <c:v>0.6902</c:v>
                </c:pt>
                <c:pt idx="9">
                  <c:v>0.6351</c:v>
                </c:pt>
                <c:pt idx="10">
                  <c:v>0.5307</c:v>
                </c:pt>
              </c:numCache>
            </c:numRef>
          </c:yVal>
          <c:bubbleSize>
            <c:numRef>
              <c:f>Sheet1!$C$2:$C$12</c:f>
              <c:numCache>
                <c:formatCode>General</c:formatCode>
                <c:ptCount val="11"/>
                <c:pt idx="0">
                  <c:v>4859.933333333333</c:v>
                </c:pt>
                <c:pt idx="1">
                  <c:v>743.5416666666666</c:v>
                </c:pt>
                <c:pt idx="2">
                  <c:v>914.0</c:v>
                </c:pt>
                <c:pt idx="3">
                  <c:v>3557.604938271605</c:v>
                </c:pt>
                <c:pt idx="4">
                  <c:v>609.5901639344262</c:v>
                </c:pt>
                <c:pt idx="5">
                  <c:v>5031.307692307692</c:v>
                </c:pt>
                <c:pt idx="6">
                  <c:v>4400.727272727273</c:v>
                </c:pt>
                <c:pt idx="7">
                  <c:v>839.0</c:v>
                </c:pt>
                <c:pt idx="8">
                  <c:v>7307.553571428571</c:v>
                </c:pt>
                <c:pt idx="9">
                  <c:v>536.4366197183099</c:v>
                </c:pt>
                <c:pt idx="1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E7EAF1A-7495-4455-81BF-ABAD540F5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10DFD16-075A-4317-A512-423011DE7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20253CB-8EE1-4C6D-87E4-D7D46EA36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3FEFFD5-9969-4CE1-AF31-A7729A50D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E0C2C00-F7A2-418A-BBFB-6F0F293C1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B8FB6F2-72D5-4A65-999C-4CFE2D367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AE32FA9-5CAC-4791-977F-311DDF8A3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3A905A3-B887-4F9B-A230-4DAB12DED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27524BA-768A-49AB-827D-BF124D3B0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24843E8-30EE-4360-B253-9C515C977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0A22284-688F-48BB-B9D2-D13EE8BAF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C2B39DF-7932-46D8-9E8B-BCB926F19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04F5CB4-DBA3-4290-949E-077FD3405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9FF05F2-6B2E-4CE5-8BAA-D207ACECB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6B00774-D241-4719-93B3-49DDBAE77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4C111A9-8DC6-408C-9CF3-829B7B190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49D7A23-69D5-45E7-A978-7B9E0141D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3E3068D-26B8-45C9-BF30-015CC0FFA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8BF607A-E83D-4EA9-8858-9CA2705C4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932C1CB-96BF-4BF5-A59E-082F0BCD2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F32E5CC-95DE-4634-B1B0-A39B26062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179392D-E045-4052-B769-D516B13EA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1710BB7-B9F5-47DC-9828-A77A67371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F76B566-A03D-4194-A57A-827776822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60EC195-441E-4747-B4A6-31C98D72F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A69D7A6-7321-49D2-9FC6-5B430F02E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BDF1396-64DE-4448-B485-C0D9CF503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E5FFE6E-8317-4076-9DA2-8A778CF44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47EC5F1-CCF4-4283-A679-D57A2D4CE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F3ACB7A-6BD1-4190-8832-6C9DE252E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2260E8E-2ADB-4183-98B9-9DD480409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00A5C2C-BD77-4446-932A-0971E28A5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56A2202-59FB-4FE3-9151-4F8B1E7B4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A77880-3143-4756-B0E5-0D29AA7D5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BDC19EA-4A0D-45E7-B775-4DC19A8D0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1884686-DB52-4C6D-8BF5-6445F1F16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055E545-26A0-4F8D-87A3-5705F44ED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280CBE0-54E7-4C5B-9811-D9DE54F3C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E5025B4-B1BC-4F2C-8B9C-B28C731B2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0FD9CB3-874C-4C45-A0C8-9D8CD5B77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D84CE78-9F8C-4229-A59F-7FCCBA36C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9E88F57-F8EC-41D3-A58C-5B3FCAF3D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B10F57C-4D25-4186-8E20-18FB4E2BF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EC8CE3B-20E9-4C70-81A4-BEC2BDCC0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4C807C4-4167-41A0-A7B9-702EF5FF3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BD4CAE4-D01A-4944-8FFE-3C873F4A3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0EB965D-526E-4D10-87F5-DC3EAB2BE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49B58D1-C371-44D3-96A7-C5B8E49DE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B13FC62-D6EC-4145-896D-C82D5F51B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F13F5F0-D08C-4711-9A7E-FD80EB099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8DC10DF-BEA4-45D2-9654-683D1FB66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59348D3-BEE9-4938-A291-05E90BA18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4A236D8-B0EA-404E-BC07-F4D388BD4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6C295AD-B2E1-4739-AFA4-4B844F3FF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F474AE0-B6A2-459A-B5B9-FAA3E1629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CDCCA35-8A39-4C2E-921C-64AA6F7B9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F6F2ADC-A2C6-4B35-9423-51A2553B3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844</c:v>
                </c:pt>
                <c:pt idx="1">
                  <c:v>0.4888</c:v>
                </c:pt>
                <c:pt idx="2">
                  <c:v>0.448</c:v>
                </c:pt>
                <c:pt idx="3">
                  <c:v>0.3989</c:v>
                </c:pt>
                <c:pt idx="4">
                  <c:v>0.5479</c:v>
                </c:pt>
                <c:pt idx="5">
                  <c:v>0.4473</c:v>
                </c:pt>
                <c:pt idx="6">
                  <c:v>0.3031</c:v>
                </c:pt>
                <c:pt idx="7">
                  <c:v>0.4032</c:v>
                </c:pt>
                <c:pt idx="8">
                  <c:v>0.3583</c:v>
                </c:pt>
                <c:pt idx="9">
                  <c:v>0.4303</c:v>
                </c:pt>
              </c:numCache>
            </c:numRef>
          </c:xVal>
          <c:yVal>
            <c:numRef>
              <c:f>Sheet1!$B$2:$B$11</c:f>
              <c:numCache>
                <c:formatCode>General</c:formatCode>
                <c:ptCount val="10"/>
                <c:pt idx="0">
                  <c:v>0.4909</c:v>
                </c:pt>
                <c:pt idx="1">
                  <c:v>0.4199</c:v>
                </c:pt>
                <c:pt idx="2">
                  <c:v>0.4936</c:v>
                </c:pt>
                <c:pt idx="3">
                  <c:v>0.6837</c:v>
                </c:pt>
                <c:pt idx="4">
                  <c:v>0.4789</c:v>
                </c:pt>
                <c:pt idx="5">
                  <c:v>0.5158</c:v>
                </c:pt>
                <c:pt idx="6">
                  <c:v>0.012</c:v>
                </c:pt>
                <c:pt idx="7">
                  <c:v>-0.0022</c:v>
                </c:pt>
                <c:pt idx="8">
                  <c:v>0.7091</c:v>
                </c:pt>
                <c:pt idx="9">
                  <c:v>0.7318</c:v>
                </c:pt>
              </c:numCache>
            </c:numRef>
          </c:yVal>
          <c:bubbleSize>
            <c:numRef>
              <c:f>Sheet1!$C$2:$C$11</c:f>
              <c:numCache>
                <c:formatCode>General</c:formatCode>
                <c:ptCount val="10"/>
                <c:pt idx="0">
                  <c:v>5807.010989010989</c:v>
                </c:pt>
                <c:pt idx="1">
                  <c:v>3302.698113207547</c:v>
                </c:pt>
                <c:pt idx="2">
                  <c:v>2923.9189189189187</c:v>
                </c:pt>
                <c:pt idx="3">
                  <c:v>1148.3170731707316</c:v>
                </c:pt>
                <c:pt idx="4">
                  <c:v>2862.6341463414633</c:v>
                </c:pt>
                <c:pt idx="5">
                  <c:v>3479.353846153846</c:v>
                </c:pt>
                <c:pt idx="6">
                  <c:v>1727.178947368421</c:v>
                </c:pt>
                <c:pt idx="7">
                  <c:v>3081.305263157895</c:v>
                </c:pt>
                <c:pt idx="8">
                  <c:v>3361.8</c:v>
                </c:pt>
                <c:pt idx="9">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1C44A3B-AE0B-4806-9528-1778C01B0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57F7836-0E35-4523-B76A-036D8A1AD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63C1FA-1CA0-4217-87D3-B8F6E3535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32F5057-A284-4D4B-936E-7AFDCD83B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C77E533-2AA9-46A0-A678-13CE908ED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3EC870B-A5BF-4C00-967F-ABCC0437C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4E96232-62DB-4BC7-877D-EFF14220B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79E6238-50F3-499C-B1C1-FD24A6CE0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AC17DDC-558F-4D5C-BD3B-5D929D361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8403684-A3CE-44CF-BE17-D8F933544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82451A7-3BDD-4EF9-B518-1CF7B4DD0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9F794D-0D31-40F4-A3B5-35BD21BF8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81345EA-A6C2-48E8-B97C-31CE3C782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2C69C04-D81F-43FF-9BD2-A650904F4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E103DB5-9B10-4F6D-8F72-9A618F4E2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50B5732-0506-49D5-B613-780E8C60F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A5A02E9-B3F5-4315-8FA4-454CF2E73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5AA690A-76A2-49B6-8664-944A97F7E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1225B17-57CD-4952-A35D-D847603F9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EFFF410-6578-4D1A-92CB-08D72E81A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18BEA11-3B0E-4165-BB52-A4A74D2D9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404BE72-0FEA-4EA5-B9A3-7E4CABCE6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97FB503-6A1A-429D-B19F-C55ACEE0A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5CBA45F-AE37-4F58-855E-D85E9D9D7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80239F6-AF0D-400E-8DF1-43C767732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72C63F4-8D03-4887-BF09-310580638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650D092-BBEF-4647-82AD-4395CAD31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8F71F9B-6ED1-4395-BCBA-316809DBF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06044B4-9509-4B67-AEDE-55250243E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2961884-5AA1-4B15-93B1-91D7DA234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B726CB0-98CB-4AA0-8AF3-20A1EBCF1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61BE4EA-D4E5-4953-8CCC-B31031453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F9EF22C-FAA9-4758-B9BC-6509B11FD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D85D55A-F65C-4633-BC29-97C1EF658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59A6481-F27D-4436-B08F-F96613610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DDCA254-FC26-412D-9086-D3A8566F9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8F884F6-7E68-495C-B45A-B968D8B14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BECF6ED-E0ED-4E63-B1C0-00649D555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AE0507A-4F8A-4ED3-92E5-61E214850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787BCE6-A0B7-480E-8243-07737A26D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22C3D28-AE37-49AA-9925-B3DA77A03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11E078E-A368-462F-A1D6-757DFCB0A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BD3AAB5-05E8-454C-90FE-77B9D402B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D1533B7-7E11-4089-8724-903B9F1CB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163071D-9D7D-421C-8F2A-D100BC57A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3BF98DC-FD8E-4238-A3E0-D75E8B9D5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44EEC8C-8728-4A26-8280-944B9BD37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3A2F686-0A21-4CF0-85BA-6FADB5177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8E444EA-D8D3-4BE9-97D3-1471337A7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B87212A-2044-41D0-A970-61F742B92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18F447D-ED39-4DDA-ADCE-C49D3A6F2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30D1B6E-3AA5-4AA0-9965-F8C7F5949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4A61720-E07F-4601-9901-45F04A1E3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8428105-DA1D-4E38-BB97-07DAA43E3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BE916D9-FB3E-48AC-A5A7-3F56BC468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71E5D3C-EBEA-49C9-B4D1-772C37127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126088E-B94B-4828-B6A5-A62987FA9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6583</c:v>
                </c:pt>
                <c:pt idx="1">
                  <c:v>0.2228</c:v>
                </c:pt>
                <c:pt idx="2">
                  <c:v>-1.683</c:v>
                </c:pt>
                <c:pt idx="3">
                  <c:v>0.2205</c:v>
                </c:pt>
                <c:pt idx="4">
                  <c:v>0.3679</c:v>
                </c:pt>
                <c:pt idx="5">
                  <c:v>0.2843</c:v>
                </c:pt>
                <c:pt idx="6">
                  <c:v>-0.6417</c:v>
                </c:pt>
                <c:pt idx="7">
                  <c:v>0.3211</c:v>
                </c:pt>
                <c:pt idx="8">
                  <c:v>0.3918</c:v>
                </c:pt>
              </c:numCache>
            </c:numRef>
          </c:xVal>
          <c:yVal>
            <c:numRef>
              <c:f>Sheet1!$B$2:$B$10</c:f>
              <c:numCache>
                <c:formatCode>General</c:formatCode>
                <c:ptCount val="9"/>
                <c:pt idx="0">
                  <c:v>0.6078</c:v>
                </c:pt>
                <c:pt idx="1">
                  <c:v>0.2544</c:v>
                </c:pt>
                <c:pt idx="2">
                  <c:v>0.797</c:v>
                </c:pt>
                <c:pt idx="3">
                  <c:v>0.6948</c:v>
                </c:pt>
                <c:pt idx="4">
                  <c:v>0.6037</c:v>
                </c:pt>
                <c:pt idx="5">
                  <c:v>0.7271</c:v>
                </c:pt>
                <c:pt idx="6">
                  <c:v>0.7947</c:v>
                </c:pt>
                <c:pt idx="7">
                  <c:v>0.6903</c:v>
                </c:pt>
                <c:pt idx="8">
                  <c:v>0.5305</c:v>
                </c:pt>
              </c:numCache>
            </c:numRef>
          </c:yVal>
          <c:bubbleSize>
            <c:numRef>
              <c:f>Sheet1!$C$2:$C$10</c:f>
              <c:numCache>
                <c:formatCode>General</c:formatCode>
                <c:ptCount val="9"/>
                <c:pt idx="0">
                  <c:v>1414.0</c:v>
                </c:pt>
                <c:pt idx="1">
                  <c:v>14923.912087912087</c:v>
                </c:pt>
                <c:pt idx="2">
                  <c:v>789.0</c:v>
                </c:pt>
                <c:pt idx="3">
                  <c:v>66122.91836734694</c:v>
                </c:pt>
                <c:pt idx="4">
                  <c:v>19149.166666666668</c:v>
                </c:pt>
                <c:pt idx="5">
                  <c:v>19381.2</c:v>
                </c:pt>
                <c:pt idx="6">
                  <c:v>4359.0</c:v>
                </c:pt>
                <c:pt idx="7">
                  <c:v>57541.3875</c:v>
                </c:pt>
                <c:pt idx="8">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E20D4C2-F1DA-4D7B-B8BB-7EE00FD86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0ED40A8-5A45-4912-8CD7-0B867E51D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E04FA6-13D4-433A-9478-276B166A6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868B611-B21A-42D4-9DF0-45AFCAE9B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46BB39E-BE8E-49BB-9EF8-2CE976682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399D2B0-9A13-4030-B7B7-BB78F608E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A04FA16-AF00-43F3-8C8D-AE04F11B7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406B6C7-1B20-45E4-858A-FE22B743B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464DB14-7C37-4325-85B3-FC6B31803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C3662FA-13BE-4DE5-9536-73B3E2688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08513F4-7B96-4550-98FA-177C816FB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7659915-0EDE-46B1-99D8-4F25913D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D51AC12-14ED-43CB-A33F-6AF68DF28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65E5CDE-1111-4A4B-867A-1EF6A6D3B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50DA8EF-A0EB-48D7-BDA0-BEC2F99B0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687C045-6C81-41E8-AA43-5DF5E958B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1936335-C7BF-4E69-B764-676F6BF9D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F70E006-5902-4172-8E8B-E9BD3C88D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0B3900E-6117-4524-B30E-57D020E2D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41F387B-4EBD-4F4D-AFE3-BB98DB200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5747E92-F401-4B88-AF50-1B113A6A7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662161E-E5BA-4549-AE41-7F17A872D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80B76A0-EE30-468A-987B-C6E48E668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8470351-07D3-4E8F-8196-E771095EF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1B3A45A-5A22-4F02-916E-0931FA135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C2EEA78-01CE-4CB2-8BF4-312E10C60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0BDD6BF-BEF7-4FD2-9E03-D7BC5F1E3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5FA2214-037C-4E9E-A62C-0B636CE64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70BE110-795A-4993-804E-C71AEC9BC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5560FD1-C132-4351-ACB0-53DE082E7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9B8BFF9-B78B-47DE-A206-A943134D5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ADABFA5-C883-4E59-88CF-27B0E98F1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03F7109-F2CC-4CAE-B913-92BA78EAB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9F53CA7-89A4-48BD-9EC8-6DC471F47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6FF4B48-6886-4EFA-BAF4-8D5BF32AD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886FC28-D732-4747-8EB4-3A6D9B0DC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265BE7C-F83E-4310-BAA4-2F9BAB6E6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110C4FE-1344-48A0-B486-B713685D1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59207A6-C251-41F6-ADFB-2D851B3D4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BB0DB99-69CB-473E-9CEF-5EE5C5C02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8FF8D1E-B31F-4E83-ADAA-5E5777E1F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BD7C63B-4375-4EF6-9253-37A8E2B7D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1913B83-9F49-4D56-A06C-B37056153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8E14CCA-E468-47E3-973D-C5ABAAFA9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9E50840-C896-41BC-A467-6441FA219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FAD8AF1-5DC8-49E7-AF1A-716181065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7074C78-6643-464B-863A-2664BDABC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82E14DF-E62C-4E7A-84C2-F67C98CCF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8E5289E-2C46-4981-81C2-71AC63AEA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EE2A1C8-73CE-43EC-A51C-01F273D35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0FF3EF6-448A-4737-8EF3-C654968C8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8A52CCE-D4F7-49E2-A0EA-9C20A180F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A96F300-BE4A-4B5D-A8E4-33A8002F6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AEA991C-76DD-44A1-A0CD-2ABA9C33E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F13DABA-8CB5-4DC6-99D7-3775FE9C3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FC8ABBC-F82E-41FA-AB14-9C7F2B93B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71EC7EE-2981-4667-8E22-23E9A3B61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6</c:v>
                </c:pt>
                <c:pt idx="1">
                  <c:v>0.3464</c:v>
                </c:pt>
              </c:numCache>
            </c:numRef>
          </c:xVal>
          <c:yVal>
            <c:numRef>
              <c:f>Sheet1!$B$2:$B$3</c:f>
              <c:numCache>
                <c:formatCode>General</c:formatCode>
                <c:ptCount val="2"/>
                <c:pt idx="0">
                  <c:v>0.3715</c:v>
                </c:pt>
                <c:pt idx="1">
                  <c:v>0.7142</c:v>
                </c:pt>
              </c:numCache>
            </c:numRef>
          </c:yVal>
          <c:bubbleSize>
            <c:numRef>
              <c:f>Sheet1!$C$2:$C$3</c:f>
              <c:numCache>
                <c:formatCode>General</c:formatCode>
                <c:ptCount val="2"/>
                <c:pt idx="0">
                  <c:v>6680.846153846154</c:v>
                </c:pt>
                <c:pt idx="1">
                  <c:v>5990.2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4030553-7BF0-46BC-B938-79ADC0915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30D1C8C-4E7E-4D51-9C34-64243504F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D2E3296-3737-4EA1-AF7B-EB1752A88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0C5677-D58F-4B7A-A529-D1EEC04FD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7913DC8-B6B2-4218-A5F2-327320A5A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22DFC72-83C7-451F-B179-044AA890C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94CA71B-308A-4750-B300-0C123D2E6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8971AB-B37F-4521-B91A-CAC759B98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4953909-0ED9-4F13-BD46-5A9A9CAFC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81A6CB2-733A-4A16-95EE-A4FE26FD0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6B0FE30-B4A3-49F2-8022-3729A15EB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73FADE2-0FB1-4261-952C-D0F8ABD49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165D9A6-1EA2-4028-B47E-1E46D7D91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B4C4E1E-E4CC-4A7C-B97D-B5C165CC9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D10D9B0-1A62-4599-933B-86E6F2766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90AEBAE-D216-4432-AB54-7BC3B2A7B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A2C3BF8-F6EA-492E-88FA-EE49845DD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FEB3289-6E68-4F0F-BFD4-E2FAB7CAA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A9F84C4-8175-430E-9CD2-2B94A7AFE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8F6E1B0-9169-43ED-A4B4-85A9123DD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E3929BC-2638-4AAF-A42A-93BF15BE7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7DE4123-32F5-4254-BA4A-77646CD95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12AC3ED-5A52-4902-88A3-0B23F08EA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5B9B9BD-DC26-49E0-BD1E-4D81363E1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8AF1291-4D14-47CC-A9F2-312190BA2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5B5122A-8916-4EC9-8D5D-A98797FFA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BBB2160-E5C7-47DB-9FAF-0E6B99386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6A87E71-2870-470B-A2C4-BFEF0A390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4CAEB27-EA21-4126-9C31-E14C6255A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1324A02-A17C-4565-B326-4042A8C6E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AEBC3A1-EA40-4652-B008-7FE6DE19E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E2FFE04-5FBF-4CEC-8755-C42AD5498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9B44CE6-CD9D-44E6-B92F-FB94898C2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B4BC618-3B2F-49CD-9CF3-CBA7DD343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3C2560A-17B4-4FF5-A248-B58BD8C13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A5BFF79-9C16-44E5-98DF-DC8F75DCC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DE9E33F-D3C9-4882-9588-4577E5538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CF30E6E-3093-4730-814E-1A53B3780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079E1DD-088C-48CD-990B-148FCCFF8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ACB15A3-D34C-4F8E-BB74-D18D8F206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660E361-1189-4593-8A44-36FB9666D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8B268C1-B7D1-41EE-8683-5F639C4F5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6B1D558-5DF1-49ED-9F31-30CCEBA11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AD3A589-3D0C-4D66-AEAE-B20FF8AFC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B834342-7D03-4151-909D-F12F71801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A0DD7FD-4550-4B0D-80DB-3E68ABEF4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A475321-3479-45AA-B52C-BA5EB9C1F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2114F1C-58C9-41A0-9792-B43F3BE48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B1631BD-FB52-4F64-BD2A-26B5089E2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DE7F4F0-26E2-4D20-8343-10B59FFA0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A758C90-9A53-440D-B18B-D25B0CEC9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DA65A5E-AC42-4765-892F-02D72268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F7EF211-9DEF-44AE-87FE-DF1535598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50D6FC4-E910-470E-8F9D-EFDA46ABE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C5E375D-AA21-44A6-81BB-6FA4A91D4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7482886-250E-4AB5-BC60-FCEED7F4C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767DE36-78F0-48FB-8351-F36B93845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4</c:v>
                </c:pt>
                <c:pt idx="1">
                  <c:v>0.3987</c:v>
                </c:pt>
                <c:pt idx="2">
                  <c:v>0.4065</c:v>
                </c:pt>
                <c:pt idx="3">
                  <c:v>0.4301</c:v>
                </c:pt>
              </c:numCache>
            </c:numRef>
          </c:xVal>
          <c:yVal>
            <c:numRef>
              <c:f>Sheet1!$B$2:$B$5</c:f>
              <c:numCache>
                <c:formatCode>General</c:formatCode>
                <c:ptCount val="4"/>
                <c:pt idx="0">
                  <c:v>0.4198</c:v>
                </c:pt>
                <c:pt idx="1">
                  <c:v>0.6837</c:v>
                </c:pt>
                <c:pt idx="2">
                  <c:v>0.7091</c:v>
                </c:pt>
                <c:pt idx="3">
                  <c:v>0.7317</c:v>
                </c:pt>
              </c:numCache>
            </c:numRef>
          </c:yVal>
          <c:bubbleSize>
            <c:numRef>
              <c:f>Sheet1!$C$2:$C$5</c:f>
              <c:numCache>
                <c:formatCode>General</c:formatCode>
                <c:ptCount val="4"/>
                <c:pt idx="0">
                  <c:v>26568.493506493505</c:v>
                </c:pt>
                <c:pt idx="1">
                  <c:v>8564.56338028169</c:v>
                </c:pt>
                <c:pt idx="2">
                  <c:v>32905.13333333333</c:v>
                </c:pt>
                <c:pt idx="3">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451AC0B-0333-47BB-8AD7-CE79A34C2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54426F2-B26F-4180-AC33-0DC444150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52B2788-CE05-4475-AFA4-29A585FDF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522B5A-B0E6-40E6-8794-995933AB2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500C927-D6C5-4D9A-BC14-E8E0FC3A8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DF2788A-8207-43F8-804F-461FF28A0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590A236-A674-47A3-A1BD-CF6DE2148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4B63DF-85FF-464E-9434-3E0012B09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D442BB3-CB4B-42B7-A8D1-7D15F2844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AAE4333-6861-432F-8EC8-D3AE24D3E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D3F7E19-59AD-45A1-9C0F-02B42540C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B0D3ECD-EED1-411C-9ECA-AD8D9CED8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C2CA1B0-6D7D-4E45-84D1-134663FED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18A05A7-A136-46A2-BCED-AB28AC329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DC98BD0-8B47-464B-BFB8-9B2EA04B0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25F8AB2-4F1D-4E0F-A90A-979AB009B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8C1F116-9361-42FE-84CE-B039547AB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F6E2607-1AF8-409D-8908-47A04B3D0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25BBD1C-F8A5-43DF-A5D9-996733BCF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D7FEB7D-A648-4542-B30C-FE6E97CF6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2249CC5-EAA2-488E-8F78-C929E56DB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C9A1285-4B70-4169-86BF-3758FBCE5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70255A7-5585-4902-BDF8-F326C9EDB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93CC1F6-DBB7-4CD5-930F-2393DE654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2B93841-145D-4744-887D-B4C37763B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846530B-C3CD-4E7D-ABEE-FF68A677A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83F1011-946F-45B8-AE04-CE3F464FE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9C537BC-AE18-49A1-A742-3F7BD0E5A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2614391-88BA-4E70-AE5A-45D6069D7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C4D36AD-E697-47DE-8BB3-7A69E9DF0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4933BA5-CA26-47C3-B6FD-3BFD5C811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29484CA-5CC2-435B-BA0D-F907C93DC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47A6018-0612-4D07-A41F-E14EE0AD3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6126F22-D312-46FA-AFC9-1D1353316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8DED8F4-2D2E-464C-B9BC-4392600DB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81AE3A0-7A94-4542-8FEB-99AA1189B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F17D30F-044E-4AE2-B66E-68EA48EEA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4399F1F-20DF-4EB4-A0F6-ABE8A02EC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F741F6C-D0E1-443C-8824-4050E48DB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89310FC-E8B3-4EC5-897E-74DE27D28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24977AF-23D7-4F88-9756-2D4236106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E17D05F-6978-4EA9-B834-950E02795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B0C753B-64B4-494D-8B82-C40BA0688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339F0E9-3863-4F20-AEDA-3484BE694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1EE681D-C7CF-4EDC-A1C1-939D87357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404E98E-152B-40F7-8CB1-C16556387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0B0486C-92FC-4AF0-A1B0-B65AABE1F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DD965B4-EFDD-45DB-939D-90C725160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3CAD2EB-1175-46D8-BDE4-BC2FDEC01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10A8B38-7357-48A9-ACE1-DA0E8D1E5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5F6B88D-1C46-45CB-954C-1465A0EEE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D729E27-6E4E-499B-BB30-8162620B9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4B0F15E-1B48-4D99-851D-B18E3A269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5AA1B2A-3CDC-4EE0-B371-D2D8C8942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BCB8A1B-1BAB-46BF-BA5E-D4FC3A7AE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4E00C64-2564-453C-9666-DA8BDF9F5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4FFAF79-CF6B-4C45-9197-A976AF920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2485</c:v>
                </c:pt>
                <c:pt idx="1">
                  <c:v>-0.9105</c:v>
                </c:pt>
                <c:pt idx="2">
                  <c:v>0.3205</c:v>
                </c:pt>
                <c:pt idx="3">
                  <c:v>0.3919</c:v>
                </c:pt>
              </c:numCache>
            </c:numRef>
          </c:xVal>
          <c:yVal>
            <c:numRef>
              <c:f>Sheet1!$B$2:$B$5</c:f>
              <c:numCache>
                <c:formatCode>General</c:formatCode>
                <c:ptCount val="4"/>
                <c:pt idx="0">
                  <c:v>0.6969</c:v>
                </c:pt>
                <c:pt idx="1">
                  <c:v>0.7947</c:v>
                </c:pt>
                <c:pt idx="2">
                  <c:v>0.6902</c:v>
                </c:pt>
                <c:pt idx="3">
                  <c:v>0.5307</c:v>
                </c:pt>
              </c:numCache>
            </c:numRef>
          </c:yVal>
          <c:bubbleSize>
            <c:numRef>
              <c:f>Sheet1!$C$2:$C$5</c:f>
              <c:numCache>
                <c:formatCode>General</c:formatCode>
                <c:ptCount val="4"/>
                <c:pt idx="0">
                  <c:v>914.0</c:v>
                </c:pt>
                <c:pt idx="1">
                  <c:v>839.0</c:v>
                </c:pt>
                <c:pt idx="2">
                  <c:v>7307.553571428571</c:v>
                </c:pt>
                <c:pt idx="3">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D80B968-A642-40A8-A43F-20A5544EA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70E1DC6-FEDC-434B-BAA0-C653F345B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65B986-9726-4116-B316-9616F266C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488D81-FF3B-4C11-8BBF-5CC50703B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DDE8ECE-1ED2-41F7-9980-8560C96B2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B8D5756-728D-477E-AC27-913D3A55A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684C37C-406E-4767-BF59-C5154B676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1575D0E-79AF-46BD-B0C1-CF1F5C095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DB3324E-F3E9-4F74-AE49-0F615A00D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C217B2B-78F5-42BC-8AC1-52830427F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B9568CE-ECF2-4A38-A0DF-BA5FABC15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CB6B7E2-99E6-43C6-A26D-932EFC462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C6A422B-3675-43FB-9FFD-C045BE490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B286146-41C2-4EB0-B7CA-5C8D04B6D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B169478-27A8-486D-AD2A-F3FC80F83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3A5DDFF-E1ED-4421-BC42-37885687A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CB2A5F2-242B-4597-A64A-8761AC31F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B1D7A1E-0664-422F-AC02-431BC5C46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AF01538-A406-4BBD-A71F-BA15007C2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B90D2F9-CCD0-4037-8F1C-CFF70B59F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5DBD45A-DDFA-4673-A771-7C9DA823C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3793A68-69C5-4C1E-9931-9DECC990E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6C34AC2-FEC1-4212-9554-E6D63E172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720F591-C21D-41F0-B493-12E5F2365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DF041DA-19E0-4276-8E84-ADF3AB2CA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E5CA540-01C6-4A42-A66E-D3963D81A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2D71518-660F-480F-8349-582522E10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DFC2654-114F-4523-94B1-D7AC97C59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A88B3E5-4C2A-40BD-8D90-A1F363AD7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000EBF9-AB55-4FB0-B42E-C2AE4F294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FDE6DD4-B51A-4C1F-A2B0-93BFE1F9A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AA4BD08-CDED-4783-91A1-4B3BCBA03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46F54FD-CE6B-485B-B4BF-CB1502918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F3C0EE5-6E8E-4C0A-8DCD-F3D7B4B0F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F040FDC-0C9E-412E-9546-13C61AAAD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71431D6-399A-44DE-9381-0BBB64277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B2A3C76-6FDA-4B1D-B26F-070448CAE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7231BF5-DDA3-4E88-8E96-81D760FD7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2DAC191-E28A-4C33-AACB-E9AD12740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CD6C303-D0D6-48B8-8113-5C2EE6315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03831BB-BE39-4C0E-8B1E-A32AA645E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0ABF52E-1369-4574-AAA9-320798D8D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9F35955-2581-465E-9932-2246A9424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3130C47-8DA5-495A-BE75-3227D1DF6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6A01A68-BA4C-4718-BDC4-0C5A7D7FC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4F88725-E673-46AF-AEBF-EDD5ACFAA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5E9DDDB-576F-437F-971C-C7D850701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F4D72FA-A996-4079-A7EF-79ADF7FBE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A06CE96-3F6D-4B61-831B-91B2559A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1DE0EDE-75F4-49DF-B937-DF681B808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64947D0-530D-47E6-80C7-88F7029BC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3940960-94E2-405A-AC17-5E6355D16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6CA6DA0-9353-4DF9-85DF-DD393AB8A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5C1528B-047C-4BB4-AD8E-F93D22599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FCC4CEB-7A5C-4AE2-8F86-6B0C9C8B4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04A2C18-93AE-45B0-9AE7-E30F97D45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016AC60-1584-446C-B2F8-84ED16104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88</c:v>
                </c:pt>
                <c:pt idx="1">
                  <c:v>0.3989</c:v>
                </c:pt>
                <c:pt idx="2">
                  <c:v>0.3583</c:v>
                </c:pt>
                <c:pt idx="3">
                  <c:v>0.4303</c:v>
                </c:pt>
              </c:numCache>
            </c:numRef>
          </c:xVal>
          <c:yVal>
            <c:numRef>
              <c:f>Sheet1!$B$2:$B$5</c:f>
              <c:numCache>
                <c:formatCode>General</c:formatCode>
                <c:ptCount val="4"/>
                <c:pt idx="0">
                  <c:v>0.4199</c:v>
                </c:pt>
                <c:pt idx="1">
                  <c:v>0.6837</c:v>
                </c:pt>
                <c:pt idx="2">
                  <c:v>0.7091</c:v>
                </c:pt>
                <c:pt idx="3">
                  <c:v>0.7318</c:v>
                </c:pt>
              </c:numCache>
            </c:numRef>
          </c:yVal>
          <c:bubbleSize>
            <c:numRef>
              <c:f>Sheet1!$C$2:$C$5</c:f>
              <c:numCache>
                <c:formatCode>General</c:formatCode>
                <c:ptCount val="4"/>
                <c:pt idx="0">
                  <c:v>3302.698113207547</c:v>
                </c:pt>
                <c:pt idx="1">
                  <c:v>1148.3170731707316</c:v>
                </c:pt>
                <c:pt idx="2">
                  <c:v>3361.8</c:v>
                </c:pt>
                <c:pt idx="3">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9C41255-8B87-4A6B-9D6F-CC5D82BB5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1BA5782-9350-4D1E-A994-EC92E0FBD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0ED4694-E164-4871-A641-CBA75FD0D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C0BE5F-2672-4955-AA8C-A9EB6E4F6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3E9A8F7-6C49-4FE7-A69D-61E295A38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135778B-CDF6-4B9E-B7E9-6F38683B5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898E83E-C1E8-418B-9C4F-46900FA72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C8CEA93-3572-4666-9968-3A6F46C0B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B933722-6A2F-4734-8BBB-93C0ACBB5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6EF5CAC-DCB3-4B1A-9B8B-77300B7F1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DE30DA1-E7BD-4849-8311-03C538382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8315517-7D80-4660-9299-85E37E0E4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82998A9-7E91-400D-BC19-85D3CFF5D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10E7478-BF07-46A3-A4E1-B57ADAC3D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28122CE-C3B1-4A6F-9E8D-CBB45ECCC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48EA82E-F51A-4709-A8C7-F312EC608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744B4CD-3AC0-4BE7-A241-F453C0AB0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0EC9523-DEBB-421F-87FB-7D70B9D91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FF04424-B018-4B4E-BA19-E4CBDEED3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62C882B-DE90-4E31-BCEE-9FCB06697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0B3A47E-42C0-4E3C-9CEC-A6814788F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E8800D6-D10F-46EC-8A0C-BBEE85F1F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54C7002-9C82-455D-AFC3-E6A7C2692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E4BE3F3-FFA9-42D9-9DDD-5486CB044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D49E16D-F984-4BCB-AB4B-0BA1178A9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C0A3A3A-D2AA-4534-A9B9-5952C699D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4D5D0C8-0583-48AD-B8D1-7E7BE55BB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C3A58B0-0AB1-46DA-87C6-252845FB5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08AA7A1-E5EA-4B9C-A6CD-692CF04A6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65164CC-6DC0-4F84-9A0D-ECD081533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A49EB6F-67C4-482B-B83E-4755D1F44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A4D3D3D-3592-43F3-BF68-05BEDFFFF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D211C9A-B345-49C8-983D-391B33A7B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67F1DE2-8898-43B1-8879-025267069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A751D59-0AF6-4FAF-A901-366E5F9E9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1585446-20A1-4EA3-87CE-4705A4C75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A332F1E-69B3-4A41-BD47-763BB1996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AB7A214-0A63-47AE-A296-066AF44D2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5DCDAD8-DB6B-4951-AF87-8F3C81180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72395CE-1E2F-4E20-9B1B-769EB629B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5937C22-C25E-416A-AAF0-8376578F8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D512689-0AAA-4E07-95DB-69E9229F5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871F73A-0E65-4064-BFE7-33848DBCF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9C76196-0A8A-4C12-95E3-99FD5D907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31D69EC-DE50-4353-8401-C5B471476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AC19DD9-9B03-4C5C-AE86-E61EEBA84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A698280-7580-448F-A7C3-B5216AE6D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D31A419-1B67-4280-B2FB-E89BDD41D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9008D0A-A7D5-479B-AEDD-9DB20CC77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E375248-A706-4301-B9CA-D9C4C73E7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C1A49FA-1E19-4751-987E-67B832A0D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7426712-CBC1-4A4E-BD67-4D429AFD4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BAACFA1-6DF1-44F5-9888-15FE1051A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D35CAC1-929F-4568-9672-ED60D833C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B4BAAD6-3810-410D-AA73-F150541D7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7A8B6AB-33EC-4231-9316-1AE43DEEB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23EDE42-999B-417A-8F32-57010BC9F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2917</c:v>
                </c:pt>
                <c:pt idx="1">
                  <c:v>0.2194</c:v>
                </c:pt>
                <c:pt idx="2">
                  <c:v>0.3585</c:v>
                </c:pt>
                <c:pt idx="3">
                  <c:v>0.2027</c:v>
                </c:pt>
                <c:pt idx="4">
                  <c:v>0.3207</c:v>
                </c:pt>
                <c:pt idx="5">
                  <c:v>0.3918</c:v>
                </c:pt>
              </c:numCache>
            </c:numRef>
          </c:xVal>
          <c:yVal>
            <c:numRef>
              <c:f>Sheet1!$B$2:$B$7</c:f>
              <c:numCache>
                <c:formatCode>General</c:formatCode>
                <c:ptCount val="6"/>
                <c:pt idx="0">
                  <c:v>0.2544</c:v>
                </c:pt>
                <c:pt idx="1">
                  <c:v>0.695</c:v>
                </c:pt>
                <c:pt idx="2">
                  <c:v>0.6039</c:v>
                </c:pt>
                <c:pt idx="3">
                  <c:v>0.7269</c:v>
                </c:pt>
                <c:pt idx="4">
                  <c:v>0.6906</c:v>
                </c:pt>
                <c:pt idx="5">
                  <c:v>0.5305</c:v>
                </c:pt>
              </c:numCache>
            </c:numRef>
          </c:yVal>
          <c:bubbleSize>
            <c:numRef>
              <c:f>Sheet1!$C$2:$C$7</c:f>
              <c:numCache>
                <c:formatCode>General</c:formatCode>
                <c:ptCount val="6"/>
                <c:pt idx="0">
                  <c:v>1094.75</c:v>
                </c:pt>
                <c:pt idx="1">
                  <c:v>5275.419354838709</c:v>
                </c:pt>
                <c:pt idx="2">
                  <c:v>999.2</c:v>
                </c:pt>
                <c:pt idx="3">
                  <c:v>1055.75</c:v>
                </c:pt>
                <c:pt idx="4">
                  <c:v>4560.025316455696</c:v>
                </c:pt>
                <c:pt idx="5">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99269AB-C652-4FA9-8164-378114B1A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9EFDA1B-820B-49EF-9280-05706A97A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4162A45-5B03-4F23-9DE4-54AAA57E0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3E03156-E9E0-4234-AF6C-D9E57C5D2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3D546F6-BBEF-48D1-A2BF-C362FAD9E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47ACCBA-1265-47FB-B800-F8FF9C663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CBE4634-E98F-4D61-A228-8A1CCF291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46D90C0-7568-4FFF-A2F8-74C87BE04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44</c:v>
                </c:pt>
                <c:pt idx="1">
                  <c:v>1.777</c:v>
                </c:pt>
              </c:numCache>
            </c:numRef>
          </c:xVal>
          <c:yVal>
            <c:numRef>
              <c:f>Sheet1!$B$2:$B$3</c:f>
              <c:numCache>
                <c:formatCode>General</c:formatCode>
                <c:ptCount val="2"/>
                <c:pt idx="0">
                  <c:v>0.6584</c:v>
                </c:pt>
                <c:pt idx="1">
                  <c:v>0.6291</c:v>
                </c:pt>
              </c:numCache>
            </c:numRef>
          </c:yVal>
          <c:bubbleSize>
            <c:numRef>
              <c:f>Sheet1!$C$2:$C$3</c:f>
              <c:numCache>
                <c:formatCode>General</c:formatCode>
                <c:ptCount val="2"/>
                <c:pt idx="0">
                  <c:v>786080.1156</c:v>
                </c:pt>
                <c:pt idx="1">
                  <c:v>456825.0256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323999999999996"/>
          <c:min val="0.51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630897187367"/>
        <c:crossBetween val="midCat"/>
      </c:valAx>
      <c:valAx>
        <c:axId val="1011451359"/>
        <c:scaling>
          <c:orientation val="minMax"/>
          <c:max val="1.1500799999999998"/>
          <c:min val="0.2632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042981183321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4E1DB00-9A37-4D30-B7A8-835F7163A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A1D9108-FAFB-4497-8537-2F1F33B28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6FDD32C-2815-4AC6-9069-771990CF2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F987A19-67B1-49A7-BCC6-1FDC00A31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56A18D5-C982-4AEF-916B-CBD0B6F1B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7985DEE-8870-4BE7-B524-67E26625E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AD53ADF-DA18-4900-92CA-15C924236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1EB94C-962C-423A-81D3-1137E6C25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AC2B1F4-1F9E-447F-96E7-2CC754BAB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F1C2D50-C188-42F7-918E-60F28271A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62B668D-E451-4CE4-909E-7A4C0CCD1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4E3C327-AA02-4385-93CE-0AC9D12B0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B8A6874-3312-45B1-A320-EEA76A1CF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A63C974-45EE-4EF5-BD13-B04B1217A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4F78BF3-0C65-4E98-9E3A-FF67A9DE9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FE6939A-C7EE-435F-BCF1-0F9F08441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7CD4300-7D21-4FE2-A9A6-7719A105A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C8101E8-B614-45CF-BD6B-E33A22EA0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45E0F56-2660-4725-8A76-A4ADFFB8E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F3010FD-CB46-4AD6-BABA-FF33A36FC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4870B21-C1BC-40FD-8E7E-D0DDAF651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0F3FB19-8592-426C-94E1-C83203ED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40EFAB7-3A2F-47D4-BD41-02903CB9A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3E605B5-5D78-4D32-9641-A25DF3BBD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9811F63-F2CB-462E-8553-BE9DC8D96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F1F7854-F47E-4BB0-B3EB-C32069B37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C74C2B2-17E1-4682-BD96-626EC818C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CFC1D24-218C-4A40-A8AD-98D79B42D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5B797B1-4BA9-475E-9118-9286BD7EC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B2BF435-FA93-4891-A6E3-B61CB5C2A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84ABB19-59B8-45E1-A572-76EECDCEB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117F097-A7E2-42F3-A30E-41E06F26D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34988BF-D14F-416A-AC65-9739F0DA0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4A1CAF1-FB9F-42E2-85B3-A11D2614B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824FC69-C05E-47A4-9AA6-211459314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5D99F0D-9081-417D-B60A-89250F2D5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D19D57F-38BC-4288-A5D6-8FFB69728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C094DDD-E42F-47A9-9AB9-9E69A961C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6B7E034-68D7-4956-BA27-F6C7135AD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A469DC1-055E-4CD5-A843-49E5AC294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BBB03BB-E9CC-4286-89A2-130BF7FE8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8854F13-3B13-48EC-9823-235060C4A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7DDFFE0-4443-4175-984D-A0927FE64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834EA51-1B5C-4291-A525-B4D52A952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41E3FB8-1921-41A6-B638-B8636C504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5469314-F8DA-4740-A396-20B96B0C9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3851686-0D03-4A7F-8576-DC1A915E1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295DD6E-8120-479D-B942-7586EBA6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772D3DE-5E50-4F55-AF1D-B82A6F669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A3A7820-85A2-415A-BA20-D18769465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8A2EC3F-F965-4BC0-B429-063B46FEB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10ECA21-8755-4A08-A4DD-B42BEE1B6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229A3B6-7152-4F91-B5F7-EACDC8B53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4E04949-3183-4099-9BD5-DE953DD4F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CA7D5D9-7C51-4BFB-96DB-2EC04E36C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F2A8696-E216-4EF7-8F16-1AF28367F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FCD61D2-90D8-43C1-A4E7-0F4CAF0E2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1</c:v>
                </c:pt>
              </c:numCache>
            </c:numRef>
          </c:xVal>
          <c:yVal>
            <c:numRef>
              <c:f>Sheet1!$B$2:$B$2</c:f>
              <c:numCache>
                <c:formatCode>General</c:formatCode>
                <c:ptCount val="1"/>
                <c:pt idx="0">
                  <c:v>0.372</c:v>
                </c:pt>
              </c:numCache>
            </c:numRef>
          </c:yVal>
          <c:bubbleSize>
            <c:numRef>
              <c:f>Sheet1!$C$2:$C$2</c:f>
              <c:numCache>
                <c:formatCode>General</c:formatCode>
                <c:ptCount val="1"/>
                <c:pt idx="0">
                  <c:v>47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8B6C0AA-3C0B-4301-936E-C94BE5E57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EFDC0AB-A59A-4406-801A-4585B71D3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E8090C4-DBA4-4CAE-8945-91C960E32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4B9AA3-F399-4E6F-9C25-E85769980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213E906-327E-4DD6-B555-1A09C738E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5B40B57-0514-4434-994C-0F3E3113D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AA8776E-C7F5-4559-85F3-752F6390F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094E48A-E2B2-45A2-ADB8-0C33B551A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50368F5-1EA6-4552-9B6A-81F219AD0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0CF3925-A6AB-4252-B3CD-3D3B58719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443E0B1-8BE5-4C99-A10F-096262541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CCCA5FD-BD1C-4679-8C9E-FC41C73A6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0BB4D9B-7F46-4607-9DFE-BB24F7275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3955CD6-E763-4C37-9F0C-5F9011ABB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64BC7D9-2A5E-40B8-9627-B086E85C5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6873F14-EAD3-4363-A5A4-98B5FA22F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FCC7887-128D-4DF6-9DF7-AABC68BD6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5BF2C45-6C03-499E-986F-683A30CC2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43B6F41-3EBA-493E-AD15-5CFABA1BB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A2813EC-21B7-4131-B118-861AAC187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01724EE-CD10-4BA5-B20E-952FEF6A0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3232B23-1E8B-400E-9302-1BF27BE64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6E7DAB0-EDE6-4232-9970-9559E40FD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F90BC47-D163-477A-9BE3-BCDF47550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CB5F26A-F73C-4782-A116-346F0C07D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B7D6CF0-20D5-4974-AFEE-E795EF179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EED257C-46FB-409B-BD1B-B1DFC680F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54757AE-981C-4B79-8C96-2DCFC9001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3468442-234C-49AC-A439-E84DBB731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C41DD8E-5D9B-4658-A18D-B4ACDE48E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7D6354F-A253-4D44-A273-C0E5548A6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40D7891-1DDE-469E-BB62-67B0A6559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60882D5-E7D1-4E3D-A2CA-BB73D1310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EFC138-1CF9-4694-865E-3D0B1BB73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5CEA976-E054-489E-9D30-0E96AC055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6393E2F-9FB7-49BB-A103-6EB3F201E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619D8C8-AD9C-485A-A5AC-EC45DD409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F0FB688-DC1D-4E14-9E63-A231EDEDC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67CD835-6108-4340-81B5-D3BA477D5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8DC51C0-6C7C-40AE-846D-7E03577B7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699C514-FB26-425C-946C-DAA21A1F4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00A67CA-9BE9-4821-B354-E446DAF4D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97C6DC6-ACAB-4A73-9A29-54B75265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4DADFF1-2070-4ED3-B57A-02F9A07B4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738FC6C-004B-4A1A-955E-6D96F9036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6D48E25-CE6E-4929-986B-9C415BF44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554EBE1-F04E-445E-AE7E-566346437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8673E5B-888B-4A00-A993-FBDFCBF7F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8A4F16C-2ACA-4B4F-96F3-419A211A4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F803211-9326-4507-8AF1-F04F6D87F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5D8E9BF-5359-4B82-A184-4E0734E6A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FE8919C-2E12-4D9C-AB98-E5F3375BD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69CAACF-B3C4-4E0C-B63B-017B231EE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FAFBD1F-3126-4093-80AF-F5340B055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E027449-E715-484A-AD1F-11937BA0F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5C91A99-DC28-4198-BE54-F39EBDA07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C03D8D8-8107-4491-B99B-12397DA31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875</c:v>
                </c:pt>
                <c:pt idx="1">
                  <c:v>0.3974</c:v>
                </c:pt>
                <c:pt idx="2">
                  <c:v>0.396</c:v>
                </c:pt>
                <c:pt idx="3">
                  <c:v>0.4292</c:v>
                </c:pt>
              </c:numCache>
            </c:numRef>
          </c:xVal>
          <c:yVal>
            <c:numRef>
              <c:f>Sheet1!$B$2:$B$5</c:f>
              <c:numCache>
                <c:formatCode>General</c:formatCode>
                <c:ptCount val="4"/>
                <c:pt idx="0">
                  <c:v>0.4195</c:v>
                </c:pt>
                <c:pt idx="1">
                  <c:v>0.6837</c:v>
                </c:pt>
                <c:pt idx="2">
                  <c:v>0.7091</c:v>
                </c:pt>
                <c:pt idx="3">
                  <c:v>0.7317</c:v>
                </c:pt>
              </c:numCache>
            </c:numRef>
          </c:yVal>
          <c:bubbleSize>
            <c:numRef>
              <c:f>Sheet1!$C$2:$C$5</c:f>
              <c:numCache>
                <c:formatCode>General</c:formatCode>
                <c:ptCount val="4"/>
                <c:pt idx="0">
                  <c:v>2192.542857142857</c:v>
                </c:pt>
                <c:pt idx="1">
                  <c:v>745.0597014925373</c:v>
                </c:pt>
                <c:pt idx="2">
                  <c:v>2624.685185185185</c:v>
                </c:pt>
                <c:pt idx="3">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A1CEADD-24DD-4C89-B1BB-F68ED16F3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D2546AA-E075-4737-B2DB-CE459144D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D7E60A-B376-43B7-87F5-AC8FA51F5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E4D173-543E-470D-B155-0905B61AA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F205AC9-0DFE-49CE-B145-A33140F83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00673DA-5729-47BA-A18E-BD2AFE83E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D096727-0159-4A82-9D8F-BEE2DF29C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5776B0A-E621-46E7-AEC2-3786EFD7B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55F1B90-CCDA-4D86-A47C-FE7AD1C1B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6BAFA13-5C85-434E-8233-521BAB80C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A44D12E-2AC5-4FAE-B804-D878960B6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535ACF5-2801-4DDA-BBFB-6E0DF3575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EF8CC14-792F-430B-A45D-854D2ED5C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C495828-63BC-45DE-801C-15CBBE076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0513302-AD58-400F-978E-750269FD2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3D06706-CDF8-4F3D-98E2-C5DB8DDFF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8A38A1B-A163-4E69-87C3-66EDA3FED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8140731-C56B-434A-9794-26090B142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6B5C248-08B6-42F2-81CB-E2B8BFC71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D39423C-1847-4198-97E6-88F7A7233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147D837-4929-4245-A295-99037F913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F8F4262-7F8C-4BB3-825C-81FF4C711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B218E94-D524-443E-A67D-245FCF4E9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422B1C5-1C3B-4167-B44E-1E4EC7B36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C568F38-B989-4960-AF77-543CB1499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30C4797-E180-4A66-8C39-FF0164398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6C232BB-9A01-4D19-B64B-06BDE3F99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497A4FE-3945-4DEC-910B-9CCBD3A20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7ACA6AD-6CC8-4E11-9675-CF6DB5E22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B9D082D-3FBD-4323-8B3A-E1C8D0D49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E3E7E0F-E9A6-4DAC-B2F3-4C3EBAA59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3B4AC04-C2D2-4C5D-81ED-E4660CB70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B0EA21D-F81B-4484-A873-63499602F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F8DD798-3C7B-471E-ABD8-2DBAB5485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C370476-1CB9-4155-A372-B9285F2A5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905BFCE-46A0-4DF8-B1F9-09F7EA12A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771CFC4-13E6-477F-8E9E-87F15C67D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F8573B6-5A78-4B74-9B90-580727AE0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9F0C0E1-0C97-4E6F-8A0B-D685EF913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397307E-7335-4B48-8D72-4F5E4F655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D103FBC-5FB0-4F18-8D45-BAEE6536D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C215082-0ACF-4586-8DC2-C039CD1EF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B441CBE-B6B1-4049-9360-FF0E31E59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427035A-1CF7-4D31-8A72-CBA478AF1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6034AF0-C262-470D-99D2-B917DBE10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497F731-3753-4BC2-90A6-69AEF7F3F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CC9D5AC-4BE1-4122-A59D-E45B3B926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6771306-D56C-4EEA-99CE-DD2FD920F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7C35ABB-2DD1-4C35-A6BA-B95E234C6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81BA556-82CF-4F5A-9051-0B3BF4949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6FB879C-1B5A-47E3-83D3-C7AE13291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E808EF5-3789-4CB6-991C-C6DBA76E6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0BCFFD8-C09C-49B6-B7F6-FCB185F1E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BC2B8CE-D758-4B7A-B760-0F41C358C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4B8227F-9947-498C-8461-20517670A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E7A14FB-68FA-48AA-A608-0565AEF94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A9811D2-A139-44FF-827D-EEA6CDD3D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6831</c:v>
                </c:pt>
                <c:pt idx="1">
                  <c:v>0.223</c:v>
                </c:pt>
                <c:pt idx="2">
                  <c:v>-1.6975</c:v>
                </c:pt>
                <c:pt idx="3">
                  <c:v>0.2203</c:v>
                </c:pt>
                <c:pt idx="4">
                  <c:v>0.3675</c:v>
                </c:pt>
                <c:pt idx="5">
                  <c:v>0.2809</c:v>
                </c:pt>
                <c:pt idx="6">
                  <c:v>-0.6721</c:v>
                </c:pt>
                <c:pt idx="7">
                  <c:v>0.321</c:v>
                </c:pt>
                <c:pt idx="8">
                  <c:v>0.3918</c:v>
                </c:pt>
              </c:numCache>
            </c:numRef>
          </c:xVal>
          <c:yVal>
            <c:numRef>
              <c:f>Sheet1!$B$2:$B$10</c:f>
              <c:numCache>
                <c:formatCode>General</c:formatCode>
                <c:ptCount val="9"/>
                <c:pt idx="0">
                  <c:v>0.6078</c:v>
                </c:pt>
                <c:pt idx="1">
                  <c:v>0.2544</c:v>
                </c:pt>
                <c:pt idx="2">
                  <c:v>0.797</c:v>
                </c:pt>
                <c:pt idx="3">
                  <c:v>0.6948</c:v>
                </c:pt>
                <c:pt idx="4">
                  <c:v>0.6037</c:v>
                </c:pt>
                <c:pt idx="5">
                  <c:v>0.7271</c:v>
                </c:pt>
                <c:pt idx="6">
                  <c:v>0.7947</c:v>
                </c:pt>
                <c:pt idx="7">
                  <c:v>0.6903</c:v>
                </c:pt>
                <c:pt idx="8">
                  <c:v>0.5305</c:v>
                </c:pt>
              </c:numCache>
            </c:numRef>
          </c:yVal>
          <c:bubbleSize>
            <c:numRef>
              <c:f>Sheet1!$C$2:$C$10</c:f>
              <c:numCache>
                <c:formatCode>General</c:formatCode>
                <c:ptCount val="9"/>
                <c:pt idx="0">
                  <c:v>1754.0</c:v>
                </c:pt>
                <c:pt idx="1">
                  <c:v>17159.559193954658</c:v>
                </c:pt>
                <c:pt idx="2">
                  <c:v>897.7777777777778</c:v>
                </c:pt>
                <c:pt idx="3">
                  <c:v>75823.49665924277</c:v>
                </c:pt>
                <c:pt idx="4">
                  <c:v>21416.964285714283</c:v>
                </c:pt>
                <c:pt idx="5">
                  <c:v>21518.936170212764</c:v>
                </c:pt>
                <c:pt idx="6">
                  <c:v>5644.0</c:v>
                </c:pt>
                <c:pt idx="7">
                  <c:v>68443.00636942674</c:v>
                </c:pt>
                <c:pt idx="8">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C3BB773-A069-4A16-B6D2-1F73C9754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9FCE743-31BD-4F19-B81C-A0F26D6CB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000A2B-BD47-4B35-9A2E-DFBA13085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CE0769B-7704-4A01-BCDE-CB833DA30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5FA919A-B6E4-4D4A-8D93-8A421B5A4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A5235AA-58C2-47A8-99E1-9C380668B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432646C-5E06-4D7D-91B7-5B1ABADA1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132407F-AF40-4923-9242-A3F2B4A1A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C54B29F-7590-4EF6-92C4-0FFDE33BE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3EFC9B-F66F-4A9E-8117-E2084CAE6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8A3F128-CB06-4528-A01A-CD5FA84C3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A6E2B97-CA63-44DC-83A9-5D6F20425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F886288-120F-45F2-A181-EA32484FC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5952333-CF08-4B24-88B8-9935955E6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EF398E6-90FE-4E62-8DB0-56DA454FF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E3974D0-A54A-41B8-A523-645A26BDC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D2EA9EF-1FE5-4CA2-9BAF-B8D1E2F2D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EBD1E34-C133-4C06-83E4-263DC0D3E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12CB96D-D87F-4D73-8119-AF4FD4088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2A82372-D120-4BDD-90C3-42C679B18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D379726-BDFB-4B60-B768-FC1806F4C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46B01F-D567-4183-9E48-A07BF75C0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8F75482-63FC-4456-B7A6-838987598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D1D3370-9D14-438B-8CBA-12402A534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0B8C873-C9E1-4AF0-93D0-ED0BEFED4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BB35848-BD92-425C-9E8B-C9E65B3B8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808CDBE-C252-4DD4-8D32-5AADAA3E2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A1FC7B2-DC13-4D09-AC0B-68B5F8221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B770EE1-87B9-4207-8A22-FEC717F74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C749E2E-32D4-4750-9115-A8FA22685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5091581-22A1-46E6-9E05-147EA3327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D45390D-FD0C-4CC2-92B2-82E241983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E7666F5-301E-4C85-A616-046CDD6E4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9DBFF41-E60B-4D56-B4B0-C992BA48B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E1C1259-55EE-4E49-9FB1-AA12CD003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627DB2D-F1AF-4BAA-AAF0-B4CEA33BD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4B14D7D-749E-4B7E-BA9D-C1E3B6006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AB645A2-48A7-488C-970B-9A15D3F23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DDF5BA2-C1B0-4180-997A-B74492253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360D2C8-FD38-4F74-8836-F87B06A06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4529A8E-9056-4753-AFE6-A8E3AACBB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1DF743F-0215-4950-BEF3-721AE5C61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DDDB016-9026-4B11-B5EF-74B472D49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E90826F-647F-4110-BB84-F9119A398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EF2F402-0B7B-4C45-9D9A-323885B77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DC7A950-56B4-49DA-8B79-E8BEE0C96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F3FE48E-C1BC-4ACB-BC3B-2B6197AB7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3C7EE30-F0F2-4810-8085-15A208D14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A60F2A4-7385-444C-A6FF-3CFCAD2AF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47B648B-C35C-4064-A14C-5BE602B69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CE1C87C-0E3B-40FC-8B1D-7126B9BE2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09B26D1-96F9-4FDB-B6A8-5DE52E898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1621BA-41E9-4DC6-827E-CF5B5895C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D6E61DA-89C4-4029-965F-BEB74F249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9B3251A-E676-4B88-8CF6-C2C5E351F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F4081D4-6E2C-404E-9124-DB6952744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1F8D0AF-30FD-4C77-8AC1-DCBC5D588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c:v>
                </c:pt>
                <c:pt idx="1">
                  <c:v>0.3456</c:v>
                </c:pt>
              </c:numCache>
            </c:numRef>
          </c:xVal>
          <c:yVal>
            <c:numRef>
              <c:f>Sheet1!$B$2:$B$3</c:f>
              <c:numCache>
                <c:formatCode>General</c:formatCode>
                <c:ptCount val="2"/>
                <c:pt idx="0">
                  <c:v>0.3715</c:v>
                </c:pt>
                <c:pt idx="1">
                  <c:v>0.7136</c:v>
                </c:pt>
              </c:numCache>
            </c:numRef>
          </c:yVal>
          <c:bubbleSize>
            <c:numRef>
              <c:f>Sheet1!$C$2:$C$3</c:f>
              <c:numCache>
                <c:formatCode>General</c:formatCode>
                <c:ptCount val="2"/>
                <c:pt idx="0">
                  <c:v>7625.128205128204</c:v>
                </c:pt>
                <c:pt idx="1">
                  <c:v>6750.3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33DE3E8-0ED9-41B9-8F56-864A6C7FA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46C7B90-83C7-4EEB-841D-670263851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8C74886-6C30-4E47-92D3-95EB16601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2FCE82-06B3-4788-A1F3-BAF3B6A38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C92FF5A-B264-41D1-9E17-1891D0D03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56444A3-7452-4BC8-A0EB-899A2DB43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2DC150-75A5-43F2-AB34-A2B693D9E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76733A-A2B9-40C5-98E5-1EFB7D740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B3C97E5-0BA9-4615-9A2C-28042A1E1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C99E48C-0652-4B89-BAB8-2461FE12D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5359C88-527B-4DB9-8811-EE7B89B25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77E507-B271-47D0-AC14-BDE17E93E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3BA87B2-E2B1-46FB-8412-36E2781B4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0DE1FC8-C066-4085-9C57-295B390DC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E0CDDD8-CFBC-449C-A2D9-B7131C56E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A62E1D3-A49A-48AA-8532-28082FA1B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5DA01E1-DAFE-47D8-A67B-22416758C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FC4CA76-8B5B-4385-9D73-66E933939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198BE0C-1CAA-4686-A003-F9A172DA8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D5B9155-ED9F-43FF-9E07-98282E4F9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D39FF82-4915-41A8-82D0-73163B9F8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37F5D9C-89A5-46B8-900C-4805F7BC6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54E47A2-8453-4387-B55C-C1A197925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3A170FC-1967-4709-87FD-3A791EEF7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01C7610-E2CD-42DE-8055-5362DEAFA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A9DC5E4-00E3-4344-B3AA-AB04CC399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40D1398-F713-49E9-AC59-BA604EB41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D478424-F5C9-4DFF-9BFA-E9B3FBFB1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A6BEAF2-04D8-47C2-B91E-89DEE3B87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154AD34-93BA-4954-BCE6-BD5A1F6BC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08AD02A-FBB2-4FB4-B42E-42951FB81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E960804-3EA8-4085-92B8-E34B3148D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E1DF891-649B-4980-98A2-197C209AE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26007D7-382D-4317-B8EC-402273FA3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5A7562C-EF68-454F-BB63-36E5807E5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A68498E-0820-4B85-A8BF-42A7D97D5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6421AEB-CE0C-4F99-B0E0-025BFA09F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B378AA9-A186-453A-B042-88F06A58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F9DA27F-3AA8-4199-95B5-A617FDBF0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6253D07-1B7D-494B-9163-601F86B5A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0C9C6CB-C98F-42A3-B4C6-ADABFDE97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71CF516-676B-4ACB-B294-298D50F1C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7E2FDC6-956E-419C-B13A-8D6725964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7C59488-9F6A-43B6-9D4A-C7376F1E5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21EE404-6127-46AE-A9FC-A2ABFED2F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282E643-7E93-438E-804E-B02A76B30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FCFEF30-5F67-4DA7-9223-AF6A9FBC6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E2C191E-5E45-497C-9FB1-6B47AE2CE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5409608-EE40-4DF3-9213-539C6E2F4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E16AADA-3496-484D-A9D7-D7396C5A5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A1FBF5B-0A3B-49F5-98F9-F74FED073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56B32CB-1C98-4151-B99D-3C721CA5F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50B0239-76BB-45DC-9807-36A7028E0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71B7137-D9F5-4C52-806B-2BA297909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6F7DDC5-EC69-4366-8177-5CFBC6B8A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2FAC53E-D540-4AB9-AC44-172ED2959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EB12B90-A43F-49ED-986F-4ADB101BF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51</c:v>
                </c:pt>
                <c:pt idx="1">
                  <c:v>0.4884</c:v>
                </c:pt>
                <c:pt idx="2">
                  <c:v>0.3987</c:v>
                </c:pt>
                <c:pt idx="3">
                  <c:v>0.4029</c:v>
                </c:pt>
                <c:pt idx="4">
                  <c:v>0.43</c:v>
                </c:pt>
              </c:numCache>
            </c:numRef>
          </c:xVal>
          <c:yVal>
            <c:numRef>
              <c:f>Sheet1!$B$2:$B$6</c:f>
              <c:numCache>
                <c:formatCode>General</c:formatCode>
                <c:ptCount val="5"/>
                <c:pt idx="0">
                  <c:v>0.7386</c:v>
                </c:pt>
                <c:pt idx="1">
                  <c:v>0.4198</c:v>
                </c:pt>
                <c:pt idx="2">
                  <c:v>0.6837</c:v>
                </c:pt>
                <c:pt idx="3">
                  <c:v>0.7091</c:v>
                </c:pt>
                <c:pt idx="4">
                  <c:v>0.7317</c:v>
                </c:pt>
              </c:numCache>
            </c:numRef>
          </c:yVal>
          <c:bubbleSize>
            <c:numRef>
              <c:f>Sheet1!$C$2:$C$6</c:f>
              <c:numCache>
                <c:formatCode>General</c:formatCode>
                <c:ptCount val="5"/>
                <c:pt idx="0">
                  <c:v>779.0</c:v>
                </c:pt>
                <c:pt idx="1">
                  <c:v>31615.113182423436</c:v>
                </c:pt>
                <c:pt idx="2">
                  <c:v>10233.439767779391</c:v>
                </c:pt>
                <c:pt idx="3">
                  <c:v>38536.181506849316</c:v>
                </c:pt>
                <c:pt idx="4">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39374B6-E41B-4651-AB73-BD6AD8D8D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366781C-0C85-4873-8D53-828C3729F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6CBEFCB-1A7A-402E-84B2-E047D4A0C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1836D6D-F08D-484A-8322-4AE550B9A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212C725-829A-4561-99B4-84855647D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8E5851D-965C-408D-9B3F-3196AAC85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83E6D47-5845-4B62-BCE7-DFD553D60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26D2985-78AD-4527-BF1F-FB94C04B7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B95C742-619B-4846-92F6-7DE3D826F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5B50A22-913C-4DC2-99F6-DBDB53C65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8A941BC-62D2-4F1D-BCD0-9939CEFD0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1DED80E-4B99-498B-AEAF-C15134501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2892B23-91D1-48E0-B761-940FAF11F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C7EC997-6957-4AB8-8CBD-5EE81F4AC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04EF333-1ECA-4970-B609-E9A54F1E0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C0D3F45-A9D4-44CE-B2AC-29E647ECA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9AD7831-0537-4812-84F9-33FA63BFF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0EA93BB-8BA9-4FCC-BF4D-92E058B53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4399086-8DA7-4EAA-B7D5-DC49C490E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ACFDEA7-5E3D-4D56-891C-8A47F4618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7C94B60-6778-4A77-A8F5-458F79459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94AC4A4-650B-4716-922C-1CC018892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6364BAB-DE3E-4D38-A1E0-3B00C2803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C67E488-1C6E-48DC-ABD3-386B03FD6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40F668E-6B95-4074-AEE6-73E71BF2B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1441157-A6ED-4667-9017-8824B557D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64A3AEF-2DB7-45E5-9DDE-6C12BC51D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57A91E1-6E25-4E50-9D7C-E25424471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8FB26BE-A418-40F3-A714-E217DDBEF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5EC295E-E830-4C49-AC87-29C9182F7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FAB4CF4-4AD0-4B4C-A1C5-B7D4D9AD4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89ED819-FCA1-4334-A41D-C1BB566A3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B864C9F-66AA-499C-98BE-4E1046B10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FE116ED-77F7-4C17-B38F-472FB2681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9FD794A-F9A7-483E-B1CF-6E3CC3475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4269A34-2ECA-4075-A9E2-D5AE390DD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F50A35A-97C7-4DD5-B5C4-8EE7AF7E7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899931F-22A6-459F-953D-DAD7BB13D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55B9A90-71DD-4802-A9DD-1A3595D93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7BF20DB-873D-4233-B36E-04912E868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6642AD2-629D-4598-BBCC-86F37D119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4DDFD16-FCFE-4F71-82D8-9F44C4695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6CCBB48-9E9E-44C5-8411-547A08DA6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7B9D26A-BFC1-4C93-8365-F06C4029B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9E2D42C-7215-4A1B-A4DF-DF53292FB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0720FAD-8CE2-4D20-843C-F2DBCD3DD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FCD8FD8-A314-4919-A0C0-B417CF66A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5749E40-8E5F-4ECA-ABDB-CAD096D83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9A29415-7B9F-414E-8E6F-D47BB94E9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32ECC71-898C-44E5-8546-9C3532CCB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8ED2B11-BD8A-42CC-A49F-AD11C08A2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FF8E2B1-3A83-4A5F-8600-04AB70896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DEC4F7D-199C-449E-8AD5-DE489CCED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09E5EF9-70F3-4104-8E16-5CF7785EF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2CA9066-1B9B-4D3B-ACE7-39F9D83A9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78B8F59-E919-46AE-A5A6-C060A382B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88F1E8B-91D9-47E2-9F29-8787585F9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61</c:v>
                </c:pt>
                <c:pt idx="2">
                  <c:v>0.3461</c:v>
                </c:pt>
                <c:pt idx="3">
                  <c:v>0.3702</c:v>
                </c:pt>
                <c:pt idx="4">
                  <c:v>0.3194</c:v>
                </c:pt>
                <c:pt idx="5">
                  <c:v>0.2951</c:v>
                </c:pt>
                <c:pt idx="6">
                  <c:v>0.3517</c:v>
                </c:pt>
                <c:pt idx="7">
                  <c:v>0.3496</c:v>
                </c:pt>
              </c:numCache>
            </c:numRef>
          </c:xVal>
          <c:yVal>
            <c:numRef>
              <c:f>Sheet1!$B$2:$B$9</c:f>
              <c:numCache>
                <c:formatCode>General</c:formatCode>
                <c:ptCount val="8"/>
                <c:pt idx="0">
                  <c:v>0.3363</c:v>
                </c:pt>
                <c:pt idx="1">
                  <c:v>0.5238</c:v>
                </c:pt>
                <c:pt idx="2">
                  <c:v>0.4895</c:v>
                </c:pt>
                <c:pt idx="3">
                  <c:v>0.6218</c:v>
                </c:pt>
                <c:pt idx="4">
                  <c:v>0.6295</c:v>
                </c:pt>
                <c:pt idx="5">
                  <c:v>0.6515</c:v>
                </c:pt>
                <c:pt idx="6">
                  <c:v>0.7677</c:v>
                </c:pt>
                <c:pt idx="7">
                  <c:v>0.6351</c:v>
                </c:pt>
              </c:numCache>
            </c:numRef>
          </c:yVal>
          <c:bubbleSize>
            <c:numRef>
              <c:f>Sheet1!$C$2:$C$9</c:f>
              <c:numCache>
                <c:formatCode>General</c:formatCode>
                <c:ptCount val="8"/>
                <c:pt idx="0">
                  <c:v>14944.044795783924</c:v>
                </c:pt>
                <c:pt idx="1">
                  <c:v>42879.101283880176</c:v>
                </c:pt>
                <c:pt idx="2">
                  <c:v>7261.435331230284</c:v>
                </c:pt>
                <c:pt idx="3">
                  <c:v>42642.53684210526</c:v>
                </c:pt>
                <c:pt idx="4">
                  <c:v>6803.554502369669</c:v>
                </c:pt>
                <c:pt idx="5">
                  <c:v>51342.777129521586</c:v>
                </c:pt>
                <c:pt idx="6">
                  <c:v>52579.06283280085</c:v>
                </c:pt>
                <c:pt idx="7">
                  <c:v>6009.7767857142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613ECEC-3A59-489B-B686-464019D0B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3ED1B27-9054-465C-8962-5541F4F78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E4D56FE-981C-42FD-BD94-7BBB03293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21C2A6-0D07-46DC-9406-9493404F5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E87BD1E-5E8F-4E78-B368-A440EA477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6D2C122-0402-4DB1-8A0B-D0BE30FEF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7E296C8-7AE3-45DE-A1EA-695A13F66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F299F7E-67CA-45DF-B91F-88EDB16AE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20485C5-E56D-49E5-9A37-FB516CB1F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09F9E01-6678-4CC0-B0A4-054296D9D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CF2477B-A9CD-4C4F-9930-59CA19AEF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8500E91-B512-4851-9A73-79C966F58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EA8DDA3-52AA-4E38-9E6D-EF80E7B90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09F1EAA-94E1-4E48-A41C-2B7CB1682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D15BF15-8532-42E4-9B54-658C4D2B4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C4F920A-8FEE-4269-B838-917B822F7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4B2C088-D482-4375-9FF4-AA9DA884B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054EF8F-DE51-4040-ADC8-C8D931A01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0931136-CCDC-41F0-B946-36EA5D168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4C410BC-B01A-4AB1-80C8-022D16E93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878C39D-070D-483F-9EF1-43D9114FB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B406721-C089-4638-B8F7-2F1218D8D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09156DF-F931-4863-B86F-6C796AE5F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3F621A8-B318-4FE9-8AC6-BA5EDAC60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9A6B27D-0B1F-4DA3-A8C6-54373CCFD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B375534-F6EB-43CA-BDA0-071D08C48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EAAC130-25A6-45DC-B081-B35CE9856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F23412E-95E1-469F-B8AA-FB243C809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CBF86E9-D871-4695-8289-0B8D4CE24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038E44C-CB82-4298-8810-B20D16CE7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BFEDD92-D30F-4402-B5C0-0B9DF538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89628D3-0B9C-471C-956D-F11589B0E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154FB5F-F1B1-444C-A02D-6D9FEC25C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91B34BB-154E-4AA1-9433-3DBEFB44E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CC1E6FC-4B52-446A-8118-5CA083561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45754CE-8B16-49C5-ADD8-9319F6221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3ADF33F-56CC-49EE-8BDD-09F4FD9DA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18D1CE8-52A0-4517-95E0-CE17C9356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DC2909E-12BB-4A5F-9A2E-211BC4508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3472B5A-C932-40F6-9E1A-DF1E84E86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840C390-614C-421F-AFFA-C83EA97FB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05B639C-6461-4E4B-9530-DF06B44D9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4AE900B-A693-4EA5-91CF-9CCC0B91D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1F1B006-9542-4B7A-90E2-D57D276ED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4458260-8B7F-4744-8F1C-B76C0912A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A96238D-0BE5-4EB9-B880-492C46F33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3033946-D939-4486-92E5-B3937D65D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4C414D4-6F3F-4D31-83F7-2FEE5D860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CB8CF92-21E0-413E-8008-48B44B107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5AD595E-792F-4326-A95A-F917FC8A6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9837520-B2D3-4CE0-BBA2-58985F6A5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69C1C1B-74C0-465A-9D12-38A4E465B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D15AB4D-C16E-4293-8897-DAB57B1B9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77A6B97-2802-444A-8849-8830B1678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D16D8C2-4AD4-43F9-838A-620569E08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D8CCA8E-70CB-437D-B770-3E94A46BC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52C6C99-CE50-4DDE-AD56-AD1E9AB5E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7</c:v>
                </c:pt>
                <c:pt idx="1">
                  <c:v>0.4473</c:v>
                </c:pt>
                <c:pt idx="2">
                  <c:v>0.5474</c:v>
                </c:pt>
                <c:pt idx="3">
                  <c:v>0.4477</c:v>
                </c:pt>
                <c:pt idx="4">
                  <c:v>0.299</c:v>
                </c:pt>
                <c:pt idx="5">
                  <c:v>0.4032</c:v>
                </c:pt>
              </c:numCache>
            </c:numRef>
          </c:xVal>
          <c:yVal>
            <c:numRef>
              <c:f>Sheet1!$B$2:$B$7</c:f>
              <c:numCache>
                <c:formatCode>General</c:formatCode>
                <c:ptCount val="6"/>
                <c:pt idx="0">
                  <c:v>0.4911</c:v>
                </c:pt>
                <c:pt idx="1">
                  <c:v>0.4934</c:v>
                </c:pt>
                <c:pt idx="2">
                  <c:v>0.4797</c:v>
                </c:pt>
                <c:pt idx="3">
                  <c:v>0.5165</c:v>
                </c:pt>
                <c:pt idx="4">
                  <c:v>0.0105</c:v>
                </c:pt>
                <c:pt idx="5">
                  <c:v>-0.0026</c:v>
                </c:pt>
              </c:numCache>
            </c:numRef>
          </c:yVal>
          <c:bubbleSize>
            <c:numRef>
              <c:f>Sheet1!$C$2:$C$7</c:f>
              <c:numCache>
                <c:formatCode>General</c:formatCode>
                <c:ptCount val="6"/>
                <c:pt idx="0">
                  <c:v>88856.37563451777</c:v>
                </c:pt>
                <c:pt idx="1">
                  <c:v>34693.635394456294</c:v>
                </c:pt>
                <c:pt idx="2">
                  <c:v>37190.41710114703</c:v>
                </c:pt>
                <c:pt idx="3">
                  <c:v>39700.24149286498</c:v>
                </c:pt>
                <c:pt idx="4">
                  <c:v>17923.486707566462</c:v>
                </c:pt>
                <c:pt idx="5">
                  <c:v>38983.21862348178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94DB6D8-C894-4636-AD4A-E53FCBB9F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A847F3A-4364-4CF9-92F1-94A81010F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78EEDE-9AD5-427B-B884-91DC79240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68F27B5-B841-446C-81E8-BBB42D2A3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9978241-6987-4E98-90D0-72DA09101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3D4AC22-1C37-419B-9E3B-5898AE48C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4B7B99-E46C-47E1-87E1-4BA7CE490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F9A7D9F-245D-43E4-8C7F-F49C3DA79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462ACCD-01BD-4033-BC89-0965F584D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D49E006-564E-45EC-A20C-1F8CA1322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A28B671-4C08-4556-A9B9-2A55F3D42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5ABBC57-D1AE-4942-B850-6FA4D57D9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C2E98E5-3605-4313-B97A-33198BB3C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C44805-62E1-4EF5-9E6B-7B38A3161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249DC25-C9AA-474E-B8C0-504ADBEE7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0AE04EB-4766-4B1A-A8BA-88E1AC2CC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BE54FE9-A45E-4D35-9464-7DD6A173E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980286F-218B-43EF-B2B9-B160F4EB3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5B6AEBD-C5B6-4311-8CA6-D13BA94E3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891C15E-A857-469D-A514-1CCA09A49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589D707-F2F7-408F-93B1-EB33CD4FC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C4C2460-28C9-4362-BEB3-22B5E955C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8C4B3C0-5A9B-4F8C-BA31-B3138F5D4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A39ED4A-583C-42F9-9799-D51C1A5DF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9F2D0D0-B6E3-430A-A9D3-9676C398B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898F5CA-E0A4-4666-96B0-9ADF82DCA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D3F78D2-C6BF-4ECD-ADDA-55D5DA55D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528AE2B-6016-4C2A-8BA5-7DEE113A4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0E8C777-C2E7-40F7-A368-CC19BEEAB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8FFED30-C3A6-48B5-A2D5-6C21947FE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BA53C74-845D-423D-B127-52EF4C0B8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5A834E7-BD33-4B71-A21C-015539B3B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E313AA4-E13A-4730-89A7-7EA9F157C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18D2B3A-086A-46EC-B584-6C8B30F5C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CCB1DB0-8D9B-4967-8D93-AEEE46C08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4581CDF-CEDF-4D05-9D5F-FD0D7D996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A35B4EC-30EB-4311-BF9A-29C93E8EF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65AED62-46AB-4823-B873-26EDAB5CF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F083419-238E-4693-BED4-FC788462F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255D799-A449-47E5-90EE-92699816D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B899A74-0D45-4D82-B99D-049A45202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8A91064-E2D5-4311-A0D8-51DA20CD8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FEDABEA-2444-43AA-8115-5E77E102E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0946BC9-C738-4D15-A3A9-B241377F6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19BC52B-7EBE-4CE1-89C6-510FFC686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3EE5348-C73F-4FBA-85B7-934A53AAF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4D68760-2B70-4E0A-87F4-0E1AAE850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282FD83-16F4-4A8C-8789-3C0897DD1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98CEDF9-7EAB-40F0-B86F-21409D0D5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1EBBCB7-F79F-4479-B2A9-7B3B442CE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00DAD98-7AC5-490F-A8CD-967A8B2C4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A5B1492-5518-4244-BDAD-14DAA0693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CD7850A-27FD-4B79-BD35-818DC8A9F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76AD042-D6A8-4ECD-A999-C29290479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7623C4D-FC75-4C29-9AAE-A2D72A209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76ED1D9-6B8B-42CF-AB45-089387E5B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B114331-CE6C-48B3-882D-B8F8A743B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c:v>
                </c:pt>
                <c:pt idx="1">
                  <c:v>0.368</c:v>
                </c:pt>
                <c:pt idx="2">
                  <c:v>0.3539</c:v>
                </c:pt>
                <c:pt idx="3">
                  <c:v>0.3752</c:v>
                </c:pt>
                <c:pt idx="4">
                  <c:v>0.327</c:v>
                </c:pt>
                <c:pt idx="5">
                  <c:v>0.301</c:v>
                </c:pt>
                <c:pt idx="6">
                  <c:v>0.3579</c:v>
                </c:pt>
                <c:pt idx="7">
                  <c:v>0.3568</c:v>
                </c:pt>
              </c:numCache>
            </c:numRef>
          </c:xVal>
          <c:yVal>
            <c:numRef>
              <c:f>Sheet1!$B$2:$B$9</c:f>
              <c:numCache>
                <c:formatCode>General</c:formatCode>
                <c:ptCount val="8"/>
                <c:pt idx="0">
                  <c:v>0.3363</c:v>
                </c:pt>
                <c:pt idx="1">
                  <c:v>0.5237</c:v>
                </c:pt>
                <c:pt idx="2">
                  <c:v>0.4895</c:v>
                </c:pt>
                <c:pt idx="3">
                  <c:v>0.6218</c:v>
                </c:pt>
                <c:pt idx="4">
                  <c:v>0.6295</c:v>
                </c:pt>
                <c:pt idx="5">
                  <c:v>0.6515</c:v>
                </c:pt>
                <c:pt idx="6">
                  <c:v>0.7677</c:v>
                </c:pt>
                <c:pt idx="7">
                  <c:v>0.6351</c:v>
                </c:pt>
              </c:numCache>
            </c:numRef>
          </c:yVal>
          <c:bubbleSize>
            <c:numRef>
              <c:f>Sheet1!$C$2:$C$9</c:f>
              <c:numCache>
                <c:formatCode>General</c:formatCode>
                <c:ptCount val="8"/>
                <c:pt idx="0">
                  <c:v>874.0</c:v>
                </c:pt>
                <c:pt idx="1">
                  <c:v>3373.205882352941</c:v>
                </c:pt>
                <c:pt idx="2">
                  <c:v>574.65625</c:v>
                </c:pt>
                <c:pt idx="3">
                  <c:v>3032.8736842105263</c:v>
                </c:pt>
                <c:pt idx="4">
                  <c:v>506.07142857142856</c:v>
                </c:pt>
                <c:pt idx="5">
                  <c:v>3945.977011494253</c:v>
                </c:pt>
                <c:pt idx="6">
                  <c:v>4372.0</c:v>
                </c:pt>
                <c:pt idx="7">
                  <c:v>413.272727272727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946E88E-3259-45B1-9C3C-A9EF47CB2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606F747-263B-47A7-935B-EC527C00F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AC76BE-5D44-4632-BC8D-C6DC78EF1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5BAEBE-B32E-48B5-A633-F90A7E1DB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EF4AB90-71B0-4B5F-8BF4-8EF13326B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56A09F0-6B52-4B31-9E2E-3F18F72E9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6330C5C-E61C-42A8-BCFC-81196D805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985D0E-18C7-4ED2-866A-3A02E27D9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8AF178E-16BB-4F19-9E3A-F4C8BBE5B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F49F8E9-D337-4C4B-B694-BBB8D057A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42F5200-BD53-4A31-82B3-DBE1F1119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CB8925A-54CD-45D3-AB30-558F72E26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C1ECB37-B068-4DA0-9412-71BFDE500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2C51E2F-8BCF-45C9-9D0C-349E4FE37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58A0CEE-79A3-49C6-9D6B-824C849B0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F3ECF9A-96DC-4172-B537-A671AF28E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6D5A577-DD50-47C9-A8B0-2A6B3F7A0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37ACA6B-1ACB-47AD-92B0-54E15315A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99E84DF-90AD-4EA3-90BC-3F1D7C2F4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BA695FE-58DA-4E25-BEB2-0E6B09E03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BAC8FCF-1E17-48EC-8284-992460464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4CF756B-9F48-46EE-8814-1BC5E151C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890528B-C1C9-4C3C-817C-86A066E37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7131043-A550-4273-9F43-FD147F7F7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A8BB831-A353-4719-9CC3-A35AD4EE6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1299690-833F-47CC-86BD-83DC1D3FD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4FC2D95-931A-4041-8201-45BA97296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3EC3330-ABA5-4DD7-A345-7FC3A425D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A0FBF77-E854-48F5-B064-3E52B7D28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D471289-F973-4C85-8E99-BE1A519F1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1FD4EFA-4ED5-4BD9-B668-FDC605061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046D0D2-FE55-4D5C-9DAE-DFDB25D50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66CC014-9B02-4C21-98B7-8E0213754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1FF5C76-7B58-4D0E-921B-6E4B3AB8C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00AE96A-1396-4F25-AAB7-4060DD20B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4DC0363-2CF2-496B-A642-707E71F5F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D6C07BE-94B5-4EAD-93FD-9341E1D76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3959F6A-B113-4C62-BF26-4C9A45114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C245E32-2D2E-4B51-BCDD-63C2FD4B8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6306D4A-439B-45E4-92B3-54F232994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2482714-BE5A-4EAC-937B-728B279E1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B8D8D28-2E8E-4523-8322-96027829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F01DB7A-4891-4C8D-AADF-84B40ABAC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3360611-90BE-46EC-861A-3BD2E659B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6DBE5D6-31C5-4DE3-9E0C-D22F19A44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BBE9D1E-E1E8-4341-98E2-2AFAA1D6B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8A6454E-D198-4E66-9CE3-F0EE4CBDD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07B73C6-B450-4CB3-B9F1-844754A18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964B061-8928-4CCD-8B52-F1FDE5596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2552358-16FD-42DC-A7A4-BDA573B46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EB7DE29-493E-4744-9A4C-B00CF2011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CFF34B8-23EB-429C-AAC6-FB6AB3D8C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0C192BA-87F5-4C93-9C6D-0B5180D55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0DCE53A-9E81-4F07-A38F-682230919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013EC1D-B4B6-4C81-AE57-0E6641A99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039EFF0-22F9-4E0D-85D8-EFE69E7AF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F0CC894-C8E2-4A3E-9CD9-C8B301E08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87</c:v>
                </c:pt>
                <c:pt idx="1">
                  <c:v>0.4532</c:v>
                </c:pt>
                <c:pt idx="2">
                  <c:v>0.5509</c:v>
                </c:pt>
                <c:pt idx="3">
                  <c:v>0.4479</c:v>
                </c:pt>
                <c:pt idx="4">
                  <c:v>0.3088</c:v>
                </c:pt>
                <c:pt idx="5">
                  <c:v>0.4033</c:v>
                </c:pt>
              </c:numCache>
            </c:numRef>
          </c:xVal>
          <c:yVal>
            <c:numRef>
              <c:f>Sheet1!$B$2:$B$7</c:f>
              <c:numCache>
                <c:formatCode>General</c:formatCode>
                <c:ptCount val="6"/>
                <c:pt idx="0">
                  <c:v>0.4911</c:v>
                </c:pt>
                <c:pt idx="1">
                  <c:v>0.4934</c:v>
                </c:pt>
                <c:pt idx="2">
                  <c:v>0.48</c:v>
                </c:pt>
                <c:pt idx="3">
                  <c:v>0.5166</c:v>
                </c:pt>
                <c:pt idx="4">
                  <c:v>0.0104</c:v>
                </c:pt>
                <c:pt idx="5">
                  <c:v>-0.0032</c:v>
                </c:pt>
              </c:numCache>
            </c:numRef>
          </c:yVal>
          <c:bubbleSize>
            <c:numRef>
              <c:f>Sheet1!$C$2:$C$7</c:f>
              <c:numCache>
                <c:formatCode>General</c:formatCode>
                <c:ptCount val="6"/>
                <c:pt idx="0">
                  <c:v>6191.265306122449</c:v>
                </c:pt>
                <c:pt idx="1">
                  <c:v>2490.9578947368423</c:v>
                </c:pt>
                <c:pt idx="2">
                  <c:v>2380.074468085106</c:v>
                </c:pt>
                <c:pt idx="3">
                  <c:v>2854.177777777778</c:v>
                </c:pt>
                <c:pt idx="4">
                  <c:v>1268.8556701030927</c:v>
                </c:pt>
                <c:pt idx="5">
                  <c:v>3147.91919191919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7FF1449-2C29-4C26-AE14-E1D9E8603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57C12E8-6CE5-4357-B314-36D36E337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EC92675-5470-42C5-A819-860B68E96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4ADFE6-053B-4B61-9ABD-E5A4DF4C5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F908299-76D6-4FC7-9AC1-D70D8664E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C1218C5-CBA2-439C-8833-24864EC4D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4DAF192-F7EA-4F6D-845B-0C928A09C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AB59942-32B4-416E-93D4-DFA0A1A0C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DEE15B9-5711-4E85-B5F5-11E5AB165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2177DB6-CEA7-4AF7-BBF3-29ACBD6FB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42331F8-ABF8-4422-B3B6-7E137465C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BC8CA5D-4DBD-4A82-99C2-2836A6952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925FD1F-272A-42BA-9471-3CCAD0C6E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1A622BF-EB67-4728-B28D-E24B05064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F313ECF-CB68-453D-A463-1C9CAFDE7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1163180-611A-4E64-969B-3633B8C10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8C7BE22-84B2-41A0-9412-0A5EEEB3D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CEA74BC-653C-4070-A02C-8BAE1BB77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68E3EBD-BE62-4E81-AC35-16F465019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28C022F-BA38-430D-9095-4068018E6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E943827-4385-470E-BD5D-4EA67BDB3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79B2879-F316-44B0-B0DD-2CE4FE985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53772D8-93D8-4049-97DE-205AB0E4D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D33B861-B853-47E8-BB17-A0B778725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700A022-D159-4A03-8EE6-47EED1F38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0C7E613-8D5D-492D-B1F8-CB1DF0704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DFF542F-D4A3-491A-A630-5938C7BB1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3788C67-1160-4A6A-9CDF-0C3FEFB98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60EB530-5BE7-4FFC-BF15-0B6C25FCE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3FEE026-ADA7-4829-92DC-97D0AD95E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3B9CC52-31A2-4CFB-9EF7-5E810E682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EC8E059-BC25-40F4-ACA1-E3C24BA2B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8DDCFB2-07E1-4E54-88D3-EF6396753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D4CC86A-02E7-47CF-BEE7-B887E32DF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BF8679-11CC-4377-A07F-0E0F6E57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1EA2647-D540-46AF-A518-2F9FB0E57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360AC1F-28A5-4FAC-9BD9-A10176846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89F45B0-A3B1-41C2-97FB-12E6B632A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82EACA1-65EF-44F9-AAC2-34C071E33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63CC67F-89CE-45E0-B39D-E8075CC1A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9FF6CF1-B4EE-425D-8475-86D1212E0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D88AA08-BF5A-414B-B093-CED4F0E52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F8AEE1D-B040-4C28-9ED7-3026FCF1F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24A9911-9274-4B74-A418-074B9ACEE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21289E8-E2EE-44A1-927A-F70707F51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92642BA-312D-4F91-982A-98E727561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7EF443B-7F3B-411D-9763-2F8EA8CD0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6316DEB-C622-4E48-A285-40C839DFF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6FA1FD7-6671-4BB4-AA59-491100378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9BDC2B4-F720-4C51-9EF0-70A4FC224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4EC7B6C-60E0-4834-9521-69662A2B7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EE720DE-548F-46E6-A7A7-DEB534FE7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4A3389D-A072-4BD5-B8C9-A2AE6EFF5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CB1DCF2-7733-4672-861F-C0A4353B0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F9C18DC-1066-4901-A63E-19290253F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E0DC0F4-9161-4193-BF35-2A43CEFE9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B13FE3A-9CE5-4CBF-9733-34BFBC250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585</c:v>
                </c:pt>
                <c:pt idx="1">
                  <c:v>0.3458</c:v>
                </c:pt>
                <c:pt idx="2">
                  <c:v>0.3705</c:v>
                </c:pt>
                <c:pt idx="3">
                  <c:v>0.3215</c:v>
                </c:pt>
                <c:pt idx="4">
                  <c:v>0.2958</c:v>
                </c:pt>
                <c:pt idx="5">
                  <c:v>0.3532</c:v>
                </c:pt>
                <c:pt idx="6">
                  <c:v>0.3506</c:v>
                </c:pt>
              </c:numCache>
            </c:numRef>
          </c:xVal>
          <c:yVal>
            <c:numRef>
              <c:f>Sheet1!$B$2:$B$8</c:f>
              <c:numCache>
                <c:formatCode>General</c:formatCode>
                <c:ptCount val="7"/>
                <c:pt idx="0">
                  <c:v>0.5245</c:v>
                </c:pt>
                <c:pt idx="1">
                  <c:v>0.4895</c:v>
                </c:pt>
                <c:pt idx="2">
                  <c:v>0.622</c:v>
                </c:pt>
                <c:pt idx="3">
                  <c:v>0.6295</c:v>
                </c:pt>
                <c:pt idx="4">
                  <c:v>0.6518</c:v>
                </c:pt>
                <c:pt idx="5">
                  <c:v>0.7677</c:v>
                </c:pt>
                <c:pt idx="6">
                  <c:v>0.6351</c:v>
                </c:pt>
              </c:numCache>
            </c:numRef>
          </c:yVal>
          <c:bubbleSize>
            <c:numRef>
              <c:f>Sheet1!$C$2:$C$8</c:f>
              <c:numCache>
                <c:formatCode>General</c:formatCode>
                <c:ptCount val="7"/>
                <c:pt idx="0">
                  <c:v>4859.933333333333</c:v>
                </c:pt>
                <c:pt idx="1">
                  <c:v>743.5416666666666</c:v>
                </c:pt>
                <c:pt idx="2">
                  <c:v>3557.604938271605</c:v>
                </c:pt>
                <c:pt idx="3">
                  <c:v>609.5901639344262</c:v>
                </c:pt>
                <c:pt idx="4">
                  <c:v>5031.307692307692</c:v>
                </c:pt>
                <c:pt idx="5">
                  <c:v>4400.727272727273</c:v>
                </c:pt>
                <c:pt idx="6">
                  <c:v>536.436619718309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00D7F08-4C7E-487F-A461-A12B0FC66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B73B05-9184-4931-B2F1-D95087790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1815FFF-605D-474C-A4E1-5689A5EA8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A4E63F6-1663-4C1B-8018-AD90958E6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7C915BF-0057-4B86-8C67-EBF98FFEB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EB4F329-7E52-4039-802A-6C76D55BA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0530FEA-A47E-4AE8-B25B-AAAA370DD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2E51D39-5FC2-4BAC-97E2-9C30303DC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675</c:v>
                </c:pt>
                <c:pt idx="1">
                  <c:v>1.3365</c:v>
                </c:pt>
              </c:numCache>
            </c:numRef>
          </c:xVal>
          <c:yVal>
            <c:numRef>
              <c:f>Sheet1!$B$2:$B$3</c:f>
              <c:numCache>
                <c:formatCode>General</c:formatCode>
                <c:ptCount val="2"/>
                <c:pt idx="0">
                  <c:v>0.3388</c:v>
                </c:pt>
                <c:pt idx="1">
                  <c:v>0.6511</c:v>
                </c:pt>
              </c:numCache>
            </c:numRef>
          </c:yVal>
          <c:bubbleSize>
            <c:numRef>
              <c:f>Sheet1!$C$2:$C$3</c:f>
              <c:numCache>
                <c:formatCode>General</c:formatCode>
                <c:ptCount val="2"/>
                <c:pt idx="0">
                  <c:v>912079.5516000001</c:v>
                </c:pt>
                <c:pt idx="1">
                  <c:v>386945.9783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038"/>
          <c:min val="0.2140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260616620214"/>
        <c:crossBetween val="midCat"/>
      </c:valAx>
      <c:valAx>
        <c:axId val="1011451359"/>
        <c:scaling>
          <c:orientation val="minMax"/>
          <c:max val="1.1413200000000001"/>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592734523439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391188A-641D-4629-A48C-612E8884B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164653F-7F81-4EB0-AD26-475241CFA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3F0E0F5-6071-44D7-BC57-C059D0DDB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0F0CF3A-8F54-4C76-8B01-8D06461FC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C18ED3D-51F8-4467-BF7A-71A706199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23423D5-CEC2-4810-8CFB-3BC5F164C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56D2054-C1A2-4374-BD0A-9872D1697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57A6EA4-A1DA-439E-B0B0-22424982A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16CE473-AB16-42EF-A0A6-6DB87E279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6DA8D71-97F1-4DC7-B587-04F74DE57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8DB5452-5148-4572-A8D9-C1F1095F6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5E84C7C-FCE4-436A-983D-78B4D635B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50B1179-2527-4B65-A0AC-F2D7335B8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84EE6E2-0590-4283-820B-E56141D54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215B90E-6DA5-4D3C-B4B5-BE84E8310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5DE275E-DCCF-48FA-BB69-185C7BCC5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BDBCE98-F809-4F9F-A61C-70A6D261A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73A3155-C255-416E-A5A3-FF1B5EE63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CEAD3E6-4884-4180-A0E7-1CFA18E2E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8009025-9F28-451B-8086-73570688F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6E58D19-BC2D-415C-A176-0F091B5A0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BF8D635-28EE-4164-ADF4-2D5861BF3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3BC1B9E-7291-47FF-9EFD-702D7074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0186605-85EC-45F1-8B76-18C96625B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337ADCF-2F1B-4373-9757-73085211E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EF2D806-FACA-4AE7-BCA4-61037BBB0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864B8DF-474F-4194-967D-0E9A8C8C0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CC8BCF1-2A26-40ED-9EDD-A873563DC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FC90DC1-1DB4-4DA2-AF2E-77CD61B1B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E6E9272-28A2-4E11-AC9C-1B165593C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5CDFDF9-F4A4-4D36-9BB9-FE407046B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23D63E2-02A4-443E-AA3B-F2EAC68BB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88B087D-6ECB-4306-891D-886BA23DD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ED89468-D885-417E-B69E-3430A65F7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04A1CAB-1E29-4D84-B50B-37C00DA01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D957985-6BE5-4488-8877-5DF71E235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AB05536-4201-4F0D-9D34-BDE452476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2C920BB-1844-4CA9-850A-88FC20A04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55B8BEE-E27E-4E52-B4E2-658ADF1DE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597402C-9735-494F-A908-8DFE72AB8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1C60D9E-4F48-4342-B5FC-D026270D9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4440504-4FDE-4C66-9E65-409541751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7EB1332-3C01-4B2A-8190-EDA6486A1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41136B2-7F82-42E8-8B48-E544EDC11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044981C-B433-47AF-AD16-D4C1F2004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F77BA27-2711-4C74-85A6-72CE59D7A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B477021-CA28-448C-92F0-59BAE0349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E920A61-5842-405F-9A75-FA372D7FC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E91554F-66C3-49FF-A3E1-77820E9EC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7AF8F9F-C1F8-4554-8E89-D185D511D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4A20765-106F-42E4-BAFE-BD1809EE6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9ED65EB-A29E-4E17-9F2B-F60E39EBA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6D236BF-F5C2-4C58-9B54-6504C491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FB4646B-AC2C-47C4-A05D-D497EBDD8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4E42847-AC00-4CC8-9364-52654007B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ADF5121-0E08-4DAB-ACAC-9CCFB9CAC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09FA8FF-ED18-495B-8F54-B5C551ED6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44</c:v>
                </c:pt>
                <c:pt idx="1">
                  <c:v>0.448</c:v>
                </c:pt>
                <c:pt idx="2">
                  <c:v>0.5479</c:v>
                </c:pt>
                <c:pt idx="3">
                  <c:v>0.4473</c:v>
                </c:pt>
                <c:pt idx="4">
                  <c:v>0.3031</c:v>
                </c:pt>
                <c:pt idx="5">
                  <c:v>0.4032</c:v>
                </c:pt>
              </c:numCache>
            </c:numRef>
          </c:xVal>
          <c:yVal>
            <c:numRef>
              <c:f>Sheet1!$B$2:$B$7</c:f>
              <c:numCache>
                <c:formatCode>General</c:formatCode>
                <c:ptCount val="6"/>
                <c:pt idx="0">
                  <c:v>0.4909</c:v>
                </c:pt>
                <c:pt idx="1">
                  <c:v>0.4936</c:v>
                </c:pt>
                <c:pt idx="2">
                  <c:v>0.4789</c:v>
                </c:pt>
                <c:pt idx="3">
                  <c:v>0.5158</c:v>
                </c:pt>
                <c:pt idx="4">
                  <c:v>0.012</c:v>
                </c:pt>
                <c:pt idx="5">
                  <c:v>-0.0022</c:v>
                </c:pt>
              </c:numCache>
            </c:numRef>
          </c:yVal>
          <c:bubbleSize>
            <c:numRef>
              <c:f>Sheet1!$C$2:$C$7</c:f>
              <c:numCache>
                <c:formatCode>General</c:formatCode>
                <c:ptCount val="6"/>
                <c:pt idx="0">
                  <c:v>5807.010989010989</c:v>
                </c:pt>
                <c:pt idx="1">
                  <c:v>2923.9189189189187</c:v>
                </c:pt>
                <c:pt idx="2">
                  <c:v>2862.6341463414633</c:v>
                </c:pt>
                <c:pt idx="3">
                  <c:v>3479.353846153846</c:v>
                </c:pt>
                <c:pt idx="4">
                  <c:v>1727.178947368421</c:v>
                </c:pt>
                <c:pt idx="5">
                  <c:v>3081.30526315789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C30F9A7-AA80-4DE7-A1F8-FFCDEABC7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30819F9-BCB9-43FE-BD0A-CD3F14E3F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88AECD-3551-49C3-AF58-36501ED9C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E4A48F7-4193-4010-8E23-093847D60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E8F2BD3-C85B-4EF8-81CA-863924127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E3919EF-14BC-45F5-B804-1000CB2FB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4B8D05B-024A-4DD1-A7F0-00D358A6D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A0C835-1BED-4E3E-BF8F-B42A4EA33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702748E-F02D-47CB-A61F-60CB81059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E9F8618-08CB-4A55-B6ED-B6F87F578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0E802A4-F011-42A4-8DA5-54CFBFDD5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06CFB28-E2EB-4251-94B1-176910265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8B623D2-3968-4070-BC03-0A17B9067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275235A-D0D0-4CC7-A58E-AAB12C7BB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F6F1150-A397-47FE-896B-35CE350F0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3A5FD9D-8264-4985-BDB9-8262F5E46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C23CE4F-8217-4089-B393-9AF27474C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00547F2-6758-4741-A438-C82F052CC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17D07B0-088A-4C29-A4BC-4E4CF5957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83A5DBA-9916-4179-A330-877017EB9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9CA4102-1434-4146-808A-D6E45CC00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55F4488-2AC5-44E7-A3C5-354FF82E3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5FE3F67-641A-4008-A0BC-72605D4AF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5212B17-620B-4E86-BDC1-7ACCC4243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9CD1AEE-1F86-4515-9E2B-738F30F59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4A867E0-8326-4F6C-AD26-3F2F17D3A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3612CD6-219D-4970-B7E2-7F97C12BF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8CD6D99-E2A2-43A4-894D-218038BC0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9D611B5-C1B7-4ECE-8969-25123DCA9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606090B-9AD7-4588-880F-35C60752A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9BD0112-F6EA-4AB4-AE15-AB49D8ABB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2A53676-C2D1-4913-B49E-899A25DFB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A2CC311-CA1F-48C8-878B-8A671E3BA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1E0CC96-2BC6-4350-B218-7035FD0B0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C0AC17C-F22E-46E8-BB77-6F4625924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96D4DF7-6166-4829-B461-D486A99EE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F9DD916-7693-409E-B78C-28D5BB053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E2FDB50-9396-42FA-B949-C21203FC5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24D8DBB-4B38-4E66-9E32-F09165E04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3F501F7-2FED-4CA2-8525-AAB5FB20A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C2E9EBE-5AF6-4804-A09A-2D4B36A82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896D307-4ACD-4B92-93AB-A7BA2BF9F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DAE9386-4727-4003-B7F9-3A31886F1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248DC18-76AC-4188-B905-5F895D47B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90EBBDF-5022-495C-9A13-62B7C5452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2471818-4E5E-4BEE-8B07-CBD811267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D6FA6D3-7B01-452A-9681-F7A2E823C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37D553E-601C-4CE4-BA4A-DB1C23354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85C3EB8-8FCC-4163-94DA-F112D6621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DD9C833-32FB-4C43-B1AB-63F5CBC7F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0E4F182-BC8E-4FA5-AA75-2B8B068D8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E5E60CC-A91E-45E7-A604-042636B63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54A328A-AAFE-49E2-84CB-37DA432C5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863398D-2478-4F3C-87AE-BF6D50068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2CD0DBD-2511-4FCB-B1AE-113670D08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1A46A89-9AFC-4A5E-B54B-FF052646C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FEEA665-E3A7-44EC-A79D-4A4973351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c:v>
                </c:pt>
                <c:pt idx="1">
                  <c:v>0.3605</c:v>
                </c:pt>
                <c:pt idx="2">
                  <c:v>0.3455</c:v>
                </c:pt>
                <c:pt idx="3">
                  <c:v>0.3698</c:v>
                </c:pt>
                <c:pt idx="4">
                  <c:v>0.3185</c:v>
                </c:pt>
                <c:pt idx="5">
                  <c:v>0.2945</c:v>
                </c:pt>
                <c:pt idx="6">
                  <c:v>0.351</c:v>
                </c:pt>
                <c:pt idx="7">
                  <c:v>0.3489</c:v>
                </c:pt>
              </c:numCache>
            </c:numRef>
          </c:xVal>
          <c:yVal>
            <c:numRef>
              <c:f>Sheet1!$B$2:$B$9</c:f>
              <c:numCache>
                <c:formatCode>General</c:formatCode>
                <c:ptCount val="8"/>
                <c:pt idx="0">
                  <c:v>0.3363</c:v>
                </c:pt>
                <c:pt idx="1">
                  <c:v>0.5237</c:v>
                </c:pt>
                <c:pt idx="2">
                  <c:v>0.4895</c:v>
                </c:pt>
                <c:pt idx="3">
                  <c:v>0.6217</c:v>
                </c:pt>
                <c:pt idx="4">
                  <c:v>0.6295</c:v>
                </c:pt>
                <c:pt idx="5">
                  <c:v>0.6514</c:v>
                </c:pt>
                <c:pt idx="6">
                  <c:v>0.7677</c:v>
                </c:pt>
                <c:pt idx="7">
                  <c:v>0.6351</c:v>
                </c:pt>
              </c:numCache>
            </c:numRef>
          </c:yVal>
          <c:bubbleSize>
            <c:numRef>
              <c:f>Sheet1!$C$2:$C$9</c:f>
              <c:numCache>
                <c:formatCode>General</c:formatCode>
                <c:ptCount val="8"/>
                <c:pt idx="0">
                  <c:v>12997.022988505747</c:v>
                </c:pt>
                <c:pt idx="1">
                  <c:v>36036.28767123288</c:v>
                </c:pt>
                <c:pt idx="2">
                  <c:v>6147.757575757576</c:v>
                </c:pt>
                <c:pt idx="3">
                  <c:v>36195.333333333336</c:v>
                </c:pt>
                <c:pt idx="4">
                  <c:v>5750.290697674419</c:v>
                </c:pt>
                <c:pt idx="5">
                  <c:v>42870.58620689655</c:v>
                </c:pt>
                <c:pt idx="6">
                  <c:v>44077.36842105263</c:v>
                </c:pt>
                <c:pt idx="7">
                  <c:v>5099.13186813186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DD23455-563A-4FC4-9A3A-A7D81D93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79B8B95-77F9-4C1C-83C2-20DBB40CC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FEF6D3-D7F5-4C7C-B149-CD9522281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A8391F-AF0C-4F0C-8C09-96B2CFF19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089673D-F2AB-4892-8B5F-503EC49A8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5B60FA-13B1-49B9-BF16-B8CE565A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07EB426-A346-4606-801B-72EBEDF9A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ECEB05C-2184-4522-8722-53E09CB1B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C132F3B-3AFA-44DA-9F78-146A8BEA6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F58D28C-F70D-4CE0-B63F-93E9BB0E8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D7F9896-E68C-4184-9FD4-53FB33970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3DAA4B0-5F18-41A4-8CEB-4DF512365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3AB70FE-B646-48F0-B8CD-3B89FA77E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55B5988-9927-4EEF-AE7F-F8E839E64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8C191B8-0387-4135-A020-993815802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917AA7B-E2C5-470F-A26F-A29112B08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DE56A1F-3B4D-486B-B19E-6BB39B2FD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8C307DF-1930-4480-80D3-305F92172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E3D0223-FBE8-45ED-949D-1B1EF0299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44930DA-030B-49FE-8247-680AC87D6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900F1DC-454D-4968-A337-008145F3D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F942DD3-32C5-49E6-8FC0-07F556DAC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1FCBEE3-B0F6-4EF0-B91F-5D4B19975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D62EFAC-F5BD-484C-975B-A9CEE7999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DD87676-5951-4C92-97F5-7B862222D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6E065A7-CFDA-435B-91B8-AC7922911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3D85AF6-89A9-4A75-B41C-C74034E39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7CD9847-49EE-452F-8332-F0EEC9D1D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FCB3C35-85B9-4643-A131-4DEF6BD96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6B3B863-C2D9-4A9D-9412-DAF815629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46C0206-9FE1-414C-A995-2CEBCFC35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4219A14-72BC-4296-9DDF-9C09B2F1B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44F8202-3EE7-4F45-B0C0-F3C05F8EF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C43AA95-D814-432B-8BB1-F34B2FE1F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98C9F3D-AF55-41FD-8539-2ED5342E7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9D3A920-7E9F-4A6D-B86D-36EF473CD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CAF06F6-A262-4109-BC94-698F37C70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5591139-B3C9-4961-BD96-41D727A9B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49ED34C-5C9F-446E-AFE7-517C7C16B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237C58D-D953-4C16-8DC5-8D1C7AA23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DD95114-7B24-4F8D-9716-1B01A6675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6B8200F-9B51-4609-AE30-EEDDB82F7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19D2047-868A-4A6B-A147-CACDBA0C7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9745FFD-1561-4B46-8831-9C942B790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36CB204-FD3B-4224-A482-B97FFA568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0BC240A-D8DA-435E-9D06-9C99F22F2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03529EB-9A96-4162-AA14-97A19882B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23B70B3-0F63-45C2-BE5F-5BFD7345B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F0BFE74-1C51-4901-9C18-A9FAC8015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416DFDC-0D10-42EE-9F60-2797FDD54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D2F8D1C-690F-447E-B4ED-C00499194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1D9AE47-C3E1-4A6F-8C88-76C190F57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14C8D1E-E44C-44DE-BC06-139FDA684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82030ED-E550-4547-8884-19B5B0891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9B2D6CA-F3F0-4132-B058-80DAE44BB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42030AB-1C09-4810-84AB-601A3478A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298349C-D75F-463B-9FB0-EFB1D68F9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833</c:v>
                </c:pt>
                <c:pt idx="1">
                  <c:v>0.4467</c:v>
                </c:pt>
                <c:pt idx="2">
                  <c:v>0.5471</c:v>
                </c:pt>
                <c:pt idx="3">
                  <c:v>0.4478</c:v>
                </c:pt>
                <c:pt idx="4">
                  <c:v>0.2977</c:v>
                </c:pt>
                <c:pt idx="5">
                  <c:v>0.4032</c:v>
                </c:pt>
              </c:numCache>
            </c:numRef>
          </c:xVal>
          <c:yVal>
            <c:numRef>
              <c:f>Sheet1!$B$2:$B$7</c:f>
              <c:numCache>
                <c:formatCode>General</c:formatCode>
                <c:ptCount val="6"/>
                <c:pt idx="0">
                  <c:v>0.4911</c:v>
                </c:pt>
                <c:pt idx="1">
                  <c:v>0.4934</c:v>
                </c:pt>
                <c:pt idx="2">
                  <c:v>0.4798</c:v>
                </c:pt>
                <c:pt idx="3">
                  <c:v>0.5166</c:v>
                </c:pt>
                <c:pt idx="4">
                  <c:v>0.0104</c:v>
                </c:pt>
                <c:pt idx="5">
                  <c:v>-0.0026</c:v>
                </c:pt>
              </c:numCache>
            </c:numRef>
          </c:yVal>
          <c:bubbleSize>
            <c:numRef>
              <c:f>Sheet1!$C$2:$C$7</c:f>
              <c:numCache>
                <c:formatCode>General</c:formatCode>
                <c:ptCount val="6"/>
                <c:pt idx="0">
                  <c:v>76941.12121212122</c:v>
                </c:pt>
                <c:pt idx="1">
                  <c:v>29486.863157894735</c:v>
                </c:pt>
                <c:pt idx="2">
                  <c:v>32042.24742268041</c:v>
                </c:pt>
                <c:pt idx="3">
                  <c:v>33695.24731182796</c:v>
                </c:pt>
                <c:pt idx="4">
                  <c:v>14956.69387755102</c:v>
                </c:pt>
                <c:pt idx="5">
                  <c:v>32799.7373737373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B47CA90-84F1-43D0-A6CD-73A494772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7436F6B-A835-4C10-9B82-2E70061DF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21E3D68-4820-4BAD-BCF3-AEE42CF6F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0C41A0-0916-4EF8-8894-D86CEC089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119F714-2CCE-4B70-9AA4-AE1EF56DB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6AC5BFD-06F5-4D6F-AD7B-90953D76C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9B098A2-4B82-4743-B47F-D411A6780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0BBF154-35B4-421A-85A6-366F541EE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59D9F69-AF57-45EF-9936-93D424963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EC290EF-7DFF-4690-8A68-93225D840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6B56AD7-DE3E-46FE-8F02-427F94426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7BEBBB-A963-4E4C-AF17-23B5D3D0D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2549062-C730-4240-9BB3-26BEB7D74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907FF55-C2B8-4538-9494-427EC86FC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5E37C4B-CD68-47A6-A0EF-9A360E307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B78D516-0479-4386-93B2-67CCC882C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277A8CC-C6D5-4165-B8DD-B224F7C9B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E8896B7-99E4-41C7-A523-5A998EE60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753BCDE-2413-4FCD-AADE-296A2C81F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538D5D7-E24F-4969-AF03-3E43276F0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213E6E8-ED10-4B5E-BC18-1664BE230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D1FC765-D6C9-42BE-B25B-CF83FF290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26BE91E-2CD0-46F9-9073-08AB1C390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8D4AB02-6C8C-4477-849A-2FA8AB071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D245E8D-0AB4-4035-83B0-1D20E46A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4832A92-6FD7-4CB0-B7DC-D4E6CC60E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16B1F7F-98AD-4525-95E1-7F2580FEA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CBA8668-C799-4947-B604-DDB2A2103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8C98D20-94C3-4FB1-89F7-9206CE5B0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02F2D88-404E-40A8-B3AE-D8B2D6C28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27BFC76-9F70-4959-A7C3-3548829E1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EB3E8DE-A25E-4359-A5A5-12CE03B5F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4A004A8-0679-4F74-9C89-E1EFD619D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B43FDAE-6082-452A-9B92-67553EA42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AFCC597-29AF-487C-ABBD-FB9594CB0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EA64B83-A389-4D15-8123-DDC2D895B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3E5DE4A-C7F9-4B8C-8ACB-F02586A7A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08EF9DE-9018-4BA5-99E9-A62DF595E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09DAF50-B21E-4A59-80EC-2AFD25E78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6FB2574-F55B-4DD7-9A14-E1C7AA9F6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82F4CC1-FB97-4434-8562-E6D78261F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FD08B61-519A-4459-9C14-DBCC63931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78E325B-CBB2-4FBD-AE92-A647628EB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D58B3CE-CDC5-43CB-8B19-996F7FA16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4491427-B903-4DC8-BEE4-67A8FF54E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80D3F81-5EFB-4A00-BFC2-221028291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F288105-DDE3-473F-A091-64E73D65D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CA24B9D-6DDF-489B-88AF-8DC6D805D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5FF30F9-3058-4C7A-9B30-E3F8154B5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785D7B3-E7F1-4DAD-BA2B-1A49CF429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89D9C80-0AB8-4789-B020-B365C9DE9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5245BD0-DEF0-4607-8518-299F2CB34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EDA4A27-D2A3-4D4B-9E37-EE0DA9805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D36FC7C-95CB-435B-B406-25038E748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4BCBB67-F5CC-4831-94AB-256245D93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CBD239A-1DC9-4DFB-A67D-6A9000945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5503936-503B-4D94-B5DA-57293090F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917</c:v>
                </c:pt>
                <c:pt idx="1">
                  <c:v>0.3585</c:v>
                </c:pt>
                <c:pt idx="2">
                  <c:v>0.3918</c:v>
                </c:pt>
              </c:numCache>
            </c:numRef>
          </c:xVal>
          <c:yVal>
            <c:numRef>
              <c:f>Sheet1!$B$2:$B$4</c:f>
              <c:numCache>
                <c:formatCode>General</c:formatCode>
                <c:ptCount val="3"/>
                <c:pt idx="0">
                  <c:v>0.2544</c:v>
                </c:pt>
                <c:pt idx="1">
                  <c:v>0.6039</c:v>
                </c:pt>
                <c:pt idx="2">
                  <c:v>0.5305</c:v>
                </c:pt>
              </c:numCache>
            </c:numRef>
          </c:yVal>
          <c:bubbleSize>
            <c:numRef>
              <c:f>Sheet1!$C$2:$C$4</c:f>
              <c:numCache>
                <c:formatCode>General</c:formatCode>
                <c:ptCount val="3"/>
                <c:pt idx="0">
                  <c:v>1094.75</c:v>
                </c:pt>
                <c:pt idx="1">
                  <c:v>999.2</c:v>
                </c:pt>
                <c:pt idx="2">
                  <c:v>3435.0481927710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4C60F50-3EFA-4C2E-A2DD-F16F4AE41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E6C1881-272B-498D-9B61-B43F9BDDF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34A553D-B2DB-4810-9F91-C39102F1E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E34A236-5AEC-4706-B0CC-30AD178C2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C557692-E294-4E72-B648-948BBA44D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511CEED-C420-4752-B958-D64CDBF9E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5EEDB84-3FF7-404E-865D-A3E57A497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C252CB1-7ADF-4044-A2EA-8444E16F5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70191DA-43A5-4DB6-B96B-DA57FAA2F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BDCE492-9CDC-4676-9EE0-65C47ACE7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C04A786-2D64-408D-BFDA-D3683F7C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F223A47-1268-4877-825D-2C476B71E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7D353AE-E517-46EB-9A3A-E201C3BF5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A4E8B07-B1A6-465A-960E-CED24606F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EB8FB93-E697-4BAD-B6EE-CB3E38C75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D217276-A120-4961-B583-33B35224D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8433C88-1922-4402-831A-B7C2E5D4E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9F3758-63D1-45E1-85FF-740ADD2C0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68AB6A8-D72F-4B37-95FB-DDFD51D31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B6BD3FB-26B3-4A28-890F-B699E1CF0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E088BEA-3680-421C-9530-BFA953AA8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97A47CD-BE9E-4206-A6F6-56B19D9F2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A5824AC-3EE7-417B-8EA7-F899D4E2D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95D81F8-F6EF-44F2-A1A3-69F24C5BB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8115F77-DA74-4FE8-B5AB-71939AF06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97FCDAB-103F-4A46-93A7-AF9FFC2EC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A3B51D9-8DF0-422E-8898-1D6D2E6BA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70D02CA-5D0E-4341-B6B5-C706F16C3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3ECFAC7-C2D2-48C0-8A70-DE9D5A6DE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8B383DE-81DD-4545-8DC3-19AE2E0B3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DBE067F-0E6F-4921-9F96-4E2280BB5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8503B5D-B8EC-411C-AE6F-C5653B633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EA742B8-BAC4-4BF4-922A-39D9AF51E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6439B1C-8FF1-491D-80DB-CC0E88182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4FBEAF4-9C2E-42B1-9406-58040BFCA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1E667E3-BFAD-4D47-8340-C8A6644D5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E457C95-F904-4E6E-8657-D539324C7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E0094E5-83CB-4839-849C-A5A411382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54B4A3B-0BB8-4039-BF9C-A5C8FC8A1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CDD5339-13F7-46E2-B90A-B86905BCC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9E7AFEB-0FF2-4B2F-9A9A-B7B93771B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A008A78-913E-4933-B642-4A51E0D3A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0D4134F-EC98-4410-BF32-2E69F23B4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DC9D2D9-3E8A-4605-BB05-F98EE11E4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52472DB-0CD0-4A9B-9A6B-271D31588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FA099D1-2D28-478F-A188-26688DE50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706B45B-115F-4A66-A83D-899605194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3CB2CBE-3D28-47BA-8773-06CD07D25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49149EE-0078-4501-B1DD-4E9FB513A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967385C-DB57-4D23-A527-AA16BDCC2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127A9A2-B1E0-4A4C-940D-2C1A9E7C2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45DD91E-5726-4C95-A893-75BA379E7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AC2A198-94F1-4A31-AFE6-D220120AB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05BB15E-6570-4E23-BBC9-8A496EBDF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27D6ABA-22B3-4C59-B28A-D18A0D8C8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A0BB4F0-E186-44E5-816A-2603AC0CB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1B18B73-6EE5-44C3-A620-138FE6891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1</c:v>
                </c:pt>
              </c:numCache>
            </c:numRef>
          </c:xVal>
          <c:yVal>
            <c:numRef>
              <c:f>Sheet1!$B$2:$B$2</c:f>
              <c:numCache>
                <c:formatCode>General</c:formatCode>
                <c:ptCount val="1"/>
                <c:pt idx="0">
                  <c:v>0.372</c:v>
                </c:pt>
              </c:numCache>
            </c:numRef>
          </c:yVal>
          <c:bubbleSize>
            <c:numRef>
              <c:f>Sheet1!$C$2:$C$2</c:f>
              <c:numCache>
                <c:formatCode>General</c:formatCode>
                <c:ptCount val="1"/>
                <c:pt idx="0">
                  <c:v>47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381FAA-D78E-4DC0-B756-1965DAD79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5B71691-3F4F-4428-8EB5-85A6BC74E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09DD48-E387-4C2C-A983-943BA479E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8FB2FD-9839-4010-BF09-6B1783D4E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1C3ABD9-5FBA-41A8-BDBE-14EBC4F3C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03EE743-3E8D-4564-B18A-7B92EBF52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46CBD02-A055-43FE-AF22-1D51D18C5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BB54168-D167-4906-91A8-135E5DB71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E27A226-450C-4703-B79B-EEAF41BDC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32577E9-171F-490D-97AF-5ECCB16DD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D682879-6133-4496-BF1A-4ACF38A74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9870DCE-9967-4038-8472-7AAC1F8BE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ADC9277-D03A-4A7E-B092-A2B775DC8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F961645-104C-4252-A478-40DA15237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7220AD1-9DB2-4C00-85A7-952724E99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BA4E8A2-184F-4AC7-8695-3C52DD18E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0B47031-2028-4D5F-BEFF-307ACCA07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C6FEF6C-BD3A-4824-B410-5BABD5B59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6D0BC46-4B56-4247-8FD7-ED75DBCFA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BD2BEBF-BEB1-443E-B58D-1D6D280B3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431DAB5-00CB-432A-97A1-2B6B77F8E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D113A60-F597-4CDC-8FA1-26B366AD4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B58794E-6FF8-468B-AB8E-94E12DCF1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576E777-D9F6-4EBF-8AD4-9D12EBE7A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0E586F5-FDFA-4612-95A1-8B7A053C9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1946A34-8B9C-43CA-BC1A-7457D052C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56F25EB-97FA-45DF-8F3E-5978292BB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1806B4D-2AFB-43CD-B743-6A1CD9C09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F82E40B-B549-424D-B4D9-808070C50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11A9CD0-CF41-409B-BCB5-A765C49AE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84F7AE2-1853-4E2D-BFCF-8FED3EF09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355C57C-DA52-4F98-A7C0-3D359D25C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13640B8-AECE-49CC-9DB2-D9C83E138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1AE7C18-7B15-42F1-9749-7FACD0161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B847244-A35D-4E0B-8A7A-58654BE45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41DE5A2-5F56-44D1-809E-251CC8CA4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5CA1471-3BF8-43DD-8715-8430ED913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6FCFF45-79CF-4A94-8DB7-CB18E934F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B9A761A-628E-413C-B203-A29A350E3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41FFEAD-59AB-4B46-8E03-68870F81E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7CFA0C6-C3F3-4B6E-96AC-D42C2A4C6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B45652C-565F-4FAC-B0CC-581E4B2AD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2AC79C1-F6C3-47BA-AB43-5C0AAAC03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9870E69-EC84-4196-9110-7EDD881BE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8B7FAD2-2D22-4362-AE31-98C475469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011BD29-CE72-418A-B56C-388200D62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4208C04-5F25-4E73-8752-3A403BD13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8C60877-ADDC-42C5-A7E4-77879D3F5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286C639-9932-48CC-B70B-10878FB5D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43C9F11-E8C5-48FE-AB8D-BC2DC53FA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9B6BF4B-7B2D-4F7A-91D9-FA49E238C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72CAC8D-8988-49F8-8323-982C77D74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6E4CA49-8AD9-4088-8C67-2D0071A26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B276770-1D21-42DC-BFEC-9923597DC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356F2AB-3015-48DB-8301-AF176BEA4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B9F98F9-F00E-4D0D-BA80-1E1F57B48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8B24D59-9561-4354-8B73-13422FE2C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5</c:v>
                </c:pt>
              </c:numCache>
            </c:numRef>
          </c:xVal>
          <c:yVal>
            <c:numRef>
              <c:f>Sheet1!$B$2:$B$2</c:f>
              <c:numCache>
                <c:formatCode>General</c:formatCode>
                <c:ptCount val="1"/>
                <c:pt idx="0">
                  <c:v>0.4195</c:v>
                </c:pt>
              </c:numCache>
            </c:numRef>
          </c:yVal>
          <c:bubbleSize>
            <c:numRef>
              <c:f>Sheet1!$C$2:$C$2</c:f>
              <c:numCache>
                <c:formatCode>General</c:formatCode>
                <c:ptCount val="1"/>
                <c:pt idx="0">
                  <c:v>2192.54285714285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0A62C84-5F20-4596-8D17-C576ACDEF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D716BC3-F14C-4EC5-8A13-57D52D8E7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2959432-70A0-47F7-87F7-FDFA4BCEF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59D116-FF86-4910-8F50-8CFEDD808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3D15A4B-CC97-4E51-AA2F-961230D96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8972311-1328-48D7-91D6-00D2C1AEF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1F8FE2E-0E03-4E49-90AE-978C63E08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FDE335E-F336-4C28-8BAE-A15C7A1DA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40696DA-57C8-4B90-958A-2D4CB6C1F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C26852A-C7F4-4C19-9127-14F10DBCE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8EFC1BE-F265-47DE-9325-D44EA36B0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A799864-92D6-45E9-B49B-4C9A594C3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67AFAAE-8EC4-4C4E-9A54-22488C64C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3A6BD25-0E0E-470F-9117-1DA512014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89B31AB-A6F5-427D-A862-7C8DF2E59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D56774F-E7E5-4B2C-8ED5-74B22A9E4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BDB5136-9C1B-4619-A9B8-D8971F992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B9B26A5-B86F-4F9C-9F7E-792713337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D136F8A-1F93-47AC-B200-F144C8F1E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E1AD2C7-C69D-47EB-8B57-1D7D091D1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731452D-0D25-4A5F-9416-1771396BE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2390B4D-F9E7-40A0-BA09-225E48C37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EF1ABE3-7E40-42BC-92B1-D6F2192D5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AA32206-18AF-4919-8D2A-E849E69BB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3E22ADE-2E46-4283-A93B-4256792C7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21F4E48-DE51-43F7-9C31-FD01255A6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2E268A6-620B-4B6F-9096-6D169FD7B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35BA29B-399A-40E5-84F0-9DDFEED23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DDF853C-E452-42C1-91C2-E90E99DAB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3252937-AFF6-4394-8ACC-D4932BE0E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DE7BC38-BC68-4873-BE82-7B59E1478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DDE4C52-A703-4AD4-A773-F7A9C388D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91FC352-C8C8-4A96-ADEB-9031D814C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55AD136-6E3E-4CFC-9EAE-FDECD8A3B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FE60A1E-E4F0-46BB-9F43-9F959A34B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C9F4E19-D5FE-436B-9A13-285DC5474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7372704-E0A4-4C32-843E-CFDAE9BE1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A2003CC-3AEF-47B9-A5CA-08C1B8049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D00D763-1EED-4B08-9A2C-61F2BA17F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0BDBC8C-02AC-4D6F-BCB0-1591CE278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C473178-10E2-4415-9A76-7EC84C1D8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9D9790D-C7A9-422E-8B09-3AA4AE1D6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D711373-CC09-444F-B2AC-1B6B476A9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0912EEF-FE86-4651-B55A-12A937E25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405B154-7AF3-4885-BE2F-45434C319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38A3C16-A149-43D7-B2CC-AE71D1DE9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A95BED3-9332-4DF7-B98F-15A49BCFC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69267C9-2B19-4B73-A945-1A79A7FC7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E8F43D6-FA3D-48E9-BFC2-23762E13B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63A96B9-A8A1-4E91-BD8D-02B81C52A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A50EDE5-58A1-482F-A3B8-9484A5BC5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EA68D2B-4121-41A5-926A-BB655831D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8A19150-A1C6-40A4-BBF7-2728761CE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7B00594-7257-4789-BC91-1D331EA4A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7DB03EA-5A41-45E8-8184-1707338CF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8571C79-8503-4484-A07B-F6CBA613B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171F5DE-FB1F-4B8E-B388-4D3C6574C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583</c:v>
                </c:pt>
                <c:pt idx="1">
                  <c:v>0.2228</c:v>
                </c:pt>
                <c:pt idx="2">
                  <c:v>0.3679</c:v>
                </c:pt>
                <c:pt idx="3">
                  <c:v>0.3918</c:v>
                </c:pt>
              </c:numCache>
            </c:numRef>
          </c:xVal>
          <c:yVal>
            <c:numRef>
              <c:f>Sheet1!$B$2:$B$5</c:f>
              <c:numCache>
                <c:formatCode>General</c:formatCode>
                <c:ptCount val="4"/>
                <c:pt idx="0">
                  <c:v>0.6078</c:v>
                </c:pt>
                <c:pt idx="1">
                  <c:v>0.2544</c:v>
                </c:pt>
                <c:pt idx="2">
                  <c:v>0.6037</c:v>
                </c:pt>
                <c:pt idx="3">
                  <c:v>0.5305</c:v>
                </c:pt>
              </c:numCache>
            </c:numRef>
          </c:yVal>
          <c:bubbleSize>
            <c:numRef>
              <c:f>Sheet1!$C$2:$C$5</c:f>
              <c:numCache>
                <c:formatCode>General</c:formatCode>
                <c:ptCount val="4"/>
                <c:pt idx="0">
                  <c:v>1414.0</c:v>
                </c:pt>
                <c:pt idx="1">
                  <c:v>14923.912087912087</c:v>
                </c:pt>
                <c:pt idx="2">
                  <c:v>19149.166666666668</c:v>
                </c:pt>
                <c:pt idx="3">
                  <c:v>41378.27586206896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B8E860E-4DCF-4BB5-B3EF-34A36F3C9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45AFC8E-1E6C-433C-A8C8-1AD91554A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DAEAC7-F054-4002-8825-AEA90DB92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1A6B87B-E6F1-4BF3-92BD-07ADA672E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1E8DE58-DAE7-4EC7-AD2C-EA9C6008B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71CF2BE-9C58-4B7C-A009-A207EF251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4066369-9025-479E-BC2C-094A8FC91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58370C7-7B64-4ED7-9147-45AD96C03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6414500-610A-46D5-8DBE-8C6D2535E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6DB2EB6-7BBC-489C-8203-C13EF445F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BF2D8E7-F615-4B92-AF7D-3D2AFCB3C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E9C4DBF-A8F8-4F19-A3FF-B412563C0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559F6B3-6B54-4DB5-A7EF-C533F6562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9ECF0A1-3D09-41DF-8493-2FF58F475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206C6DC-DBBF-4BFE-88D2-A61B54F68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13A6A7E-0D16-48D0-AD13-88B33DB28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77C1FED-97D1-4542-80BC-04B0D0D94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00C4468-0DC0-419F-9E81-DC031D3CE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025D70E-E60F-4D79-BFF4-81E998BC1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809FDA8-52CE-450E-B34D-71C569755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0C04900-3721-42AF-818B-C7DE3E3B3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B5B5682-980D-41B7-9956-F469A4FD3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2A981B0-1A9F-47DB-A1EF-F2A0F0AA9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04C9AD5-A2DE-455E-8129-ED100A7B1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4D28B49-C0B9-4AC1-93EB-3908EFF6D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9445F5D-C851-43F9-93B5-E6548101C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CA63722-BD57-4762-8DF6-A0AB5154C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E86FD9C-C962-4548-935F-47854A4E0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E909904-C0AF-4516-B9DB-07CBCFEBD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E209DF5-0F1D-468B-BC0D-A2346139B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6641B16-C199-4F34-BE9C-A8FFEE6CF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312161D-2323-4623-9B67-56D1B2D95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EA1755A-5997-426A-8226-E1035E5EE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A90EDC3-2A37-4E5A-B6BF-09D2C2DCD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D9F6410-9E85-415F-A643-219CEE328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F031206-329A-437E-BE45-6EFCF6C7D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B50F87F-78EF-4B84-B71C-AB186D004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B00B0C5-E51D-49B3-AD71-7221F2875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10742B2-B63B-4F18-879A-C47544FDF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302A11A-EB45-4881-B44C-D20E57A6E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24BC692-C96D-4D24-AA34-7E7CB3ED8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7AB15FD-4510-4B65-B4AC-9454B8D55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B9DDEA0-93B4-43B0-B040-DA154455E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7D683D5-4F47-46E4-B28B-C48EB1358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FFAE79B-8D74-493A-95FE-988841C2C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6A3F0C4-6BE6-4DEA-B581-7AE0E4D53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049AD3D-0E76-4F22-94A5-AB4693D3B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47D87E5-F9C0-4E6A-8EF5-E0B5E7326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D0D7F8B-D9D8-48CF-ABAC-8DB358FFE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C5CDC32-1EDF-49EE-94C5-3330DF4D9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B179D82-52FC-48E9-8434-677EB8BF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AABC787-AD50-49A3-8D6A-1AFDB7481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86F58D2-205F-4DEA-8346-7A1508FFC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B222F68-FCC8-468C-9FF0-0E6EE04AD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50D29DF-E4FD-46E7-A449-EF1D2DCE3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9F52414-7D77-4C4A-941F-A1992C11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EC4D080-A2BD-4F98-8D94-D8FBCC0A7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6</c:v>
                </c:pt>
              </c:numCache>
            </c:numRef>
          </c:xVal>
          <c:yVal>
            <c:numRef>
              <c:f>Sheet1!$B$2:$B$2</c:f>
              <c:numCache>
                <c:formatCode>General</c:formatCode>
                <c:ptCount val="1"/>
                <c:pt idx="0">
                  <c:v>0.3715</c:v>
                </c:pt>
              </c:numCache>
            </c:numRef>
          </c:yVal>
          <c:bubbleSize>
            <c:numRef>
              <c:f>Sheet1!$C$2:$C$2</c:f>
              <c:numCache>
                <c:formatCode>General</c:formatCode>
                <c:ptCount val="1"/>
                <c:pt idx="0">
                  <c:v>6680.84615384615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33EC34D-4170-41D0-8386-E754EAD95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9528FAA-BE90-4305-834C-595D23BB8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02CD36-3B7D-484F-AF78-73DE21E30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7C43AC7-8515-496C-AEA4-DEB885B9B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48069CB-40D1-4884-938F-BB89AA012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2AE486B-61E8-463A-B59E-F97F7E7E3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D2AC69A-4968-4EF8-8207-181382136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31A777E-034E-4CA3-B5B9-0AECF0CD2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A197B42-8EC3-40C2-9B51-89C2D4034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DFFA2AE-54EA-429F-9669-3F1CE7017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C1EA5B6-78A5-4DE5-956F-41F22155E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8CE017-E4CD-4F5F-99D0-A6ADC8955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54D00FD-DF08-4E98-8320-F9A275B65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C8869F9-62DD-4F18-84E5-DD56C3938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E007A51-6C44-4D77-A666-BADC013DC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0E27A57-63E9-42B3-B189-7BDA5496C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857E7F8-A4C8-4AB3-AFBF-DA6E3FE1B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3C1DF6A-B603-49EB-A927-EDFE7182A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4418112-13D5-4C97-B770-A443CC5DD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04270FA-9617-4ACC-AE01-238C72748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FCAF94E-20EE-4E0C-91A5-38BAD1BAF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C20A482-6004-4CEE-BC35-517DF9E16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5D7CEA6-7994-4231-964B-34635A90B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E8009BB-6631-46E8-96A6-08805EF4A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604F83D-6847-42ED-8713-459730133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FE35A58-AA71-4792-9690-F857D55C8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14E7635-506E-4A4E-8C39-9DC45E21D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BAE3E51-CCC6-4CB2-990E-753E710CA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99EE32F-9062-4188-8BEB-4B38C0B6E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7C7EEF0-D27C-4D61-9455-0D97970AD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81A7783-E4E1-4FEC-872B-D1B48B7C0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220A814-8397-4F16-895F-72C97056A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49711B1-B337-42EF-9946-C613F954F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190EFFA-8778-41AB-9C05-3E2CB509D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2A5ED7D-6D9D-430A-9F2D-1652A2A34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45C523A-74DC-4838-913F-7F805EE33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9813455-EDF4-42A2-9C9F-E91CBA445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124E733-55E8-4DBE-B30A-42687C517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D204E07-1345-4D19-82C6-14C92BBF9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1E88110-0210-4FBC-A877-4C598266D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E20CFFB-99CE-40C3-924D-C994F635F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B1E4464-6E3B-4F84-98B8-857F45DEA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E205DFF-60C7-4B93-9B9F-368079CF1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CEF41EE-ACDE-461F-9F6C-7E3B8D4FF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B813B60-6FE0-42AF-BCD4-F5E90ED49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71D1EE3-1F26-4199-A71B-82B34D63D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4AD21C4-75BF-42F4-AF26-C5BC2311E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0C29F20-8A77-43DA-B73D-2B8900D30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AAA0C46-703A-4CDA-A2F6-B4485A13B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17D0064-D026-470B-B4E0-202F02A4B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4173EEF-BEE4-4673-B66A-55AE9852F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6822D7D-E0F2-480D-909B-F0481F93B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7EA98B8-BA0E-4895-8B4E-1FDED59FB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71EC047-FA95-45D3-A62C-281FEDAAC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36734A2-5A03-45E5-9E7A-F8519C672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EE9660B-9DDF-4601-AE24-E1B2E7598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7937C74-F20F-44F8-B733-6987CD85F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26568.49350649350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A3BB717-DCC5-4AF2-B34E-C89893D4A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7040AF9-1A38-463E-AD9E-89A605972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A192C3-4174-4E71-9CBD-590F692B3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07110C2-D1AB-4106-B53A-AA634B9C1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D8DCF6C-E2FC-4BE7-9822-5E429E54C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28FF32-8764-4BDC-8D11-A5019A455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9188A43-8872-4F64-B277-0E67C2BF2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327D18D-1099-4428-8C2C-964C1877A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F3D7EEC-A088-42E2-B629-8D9DB4C79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55001D0-CAFF-4A50-B31B-987AB40B7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5FBA8AB-2A49-4ED3-B9E5-BFAA7660E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ABF115F-FE1B-4369-A684-A3441C7D0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849B0DB-C91B-426F-888E-A191C2A7B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974A7C8-F5CC-4C9B-977A-6561184DA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9E0281A-0504-4267-ADB3-F974F7D54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BB0AC55-E996-4606-B8F1-38FDCB376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C8E39A7-0CFD-4989-A424-1D5B0EC06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6CB589E-D8C9-4DE9-9F3F-515BCAE29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89FC634-B000-465F-80AF-0CA0572DE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3C4F2D8-51EB-4066-B1F4-39FEE3AFE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BE2B0DE-A9FE-4DE0-9077-CD2B47122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634105F-30D8-44CE-B1C8-AE2755F2E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83523B5-49FE-4D07-B218-A3A9B67C2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2FD7FF5-A91E-495A-A9C6-D7C0BCC15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E8EE553-4AF8-4194-A6EC-027A48477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268ADE7-0162-4096-9F64-002392F2F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15E828E-F8CC-43A7-B1C2-DC000318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BAF3A0B-5E6B-499F-A785-B9F3DF6F7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8E87EC0-6EF3-49F7-9295-0E6DD3BA6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8688446-82F8-44A9-9C54-EB9A283B6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2F231F4-BAB8-4DAE-88BE-6D446D095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1803C4E-1FD4-437E-A5AA-6E7C6F84D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3FF7C9C-DD0E-481C-9818-7DE143C2B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851D65B-84E2-45B4-A76A-08E82CD12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B83068C-4C03-4662-84B4-FD5051654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E97CB69-AC05-42EE-AD91-3CEC1704A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F359D2A-CFD2-4FE4-964A-191D3EAF4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0570EEB-AB6E-4816-BC7F-54F500E63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EC24AA9-007A-4B72-ABEA-9A0061C23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66F890C-9592-42D8-B890-5EFC4B482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5C0F5FB-A84F-4499-AFA8-6F1AFD481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390FA24-9347-4E94-B211-5FBA622F6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596AAF3-3761-43F5-A22F-089CD0D0E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272A48C-3200-4235-9B45-D28CB5608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5C3A9D2-5570-4593-AE95-3CD2666E1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9254713-59BF-4F5F-8FDB-C87BCBF7E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9938306-A50D-4432-A646-F5C93469C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26146BB-7C71-47D4-95B9-18C48BD8C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B230130-2711-4CF4-B9CD-FBFE83B7A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4C8680A-973D-44B7-A019-EA4B1B22B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C0BAEBF-1CD5-4661-AB21-0701FC8BB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E1ACF02-879A-44DE-835A-DBC963C6E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B919EEC-EE40-4CB8-A061-554C26773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BAB8DC2-0532-4A8C-A8C8-26B66A4F8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F3CBC7E-8F1E-4638-AE2C-600EC1F05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161A20D-AD4A-41D7-B6EE-99F7D4A1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03E5318-5317-41E7-A8E3-1E0C7753C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c:v>
                </c:pt>
              </c:numCache>
            </c:numRef>
          </c:xVal>
          <c:yVal>
            <c:numRef>
              <c:f>Sheet1!$B$2:$B$2</c:f>
              <c:numCache>
                <c:formatCode>General</c:formatCode>
                <c:ptCount val="1"/>
                <c:pt idx="0">
                  <c:v>0.5307</c:v>
                </c:pt>
              </c:numCache>
            </c:numRef>
          </c:yVal>
          <c:bubbleSize>
            <c:numRef>
              <c:f>Sheet1!$C$2:$C$2</c:f>
              <c:numCache>
                <c:formatCode>General</c:formatCode>
                <c:ptCount val="1"/>
                <c:pt idx="0">
                  <c:v>4743.37704918032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BCD02FC-4024-4CED-97C9-1C28437FA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AF0A6F5-AB80-4A9A-9751-F9B5AAAC1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A233332-2C24-4999-8E51-BCF01823D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E7DD68B-5A54-41F9-8D1F-3C954DBBF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013997F-61A9-42BF-AE3D-DB98373F7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1F00A00-2DA2-4920-8152-B82629D88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69EAD73-FDC0-44DB-9DF3-ADB9DCFC4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A53192A-03A4-4333-AF69-76C1A931E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6293</c:v>
                </c:pt>
                <c:pt idx="1">
                  <c:v>1.7663</c:v>
                </c:pt>
              </c:numCache>
            </c:numRef>
          </c:xVal>
          <c:yVal>
            <c:numRef>
              <c:f>Sheet1!$B$2:$B$3</c:f>
              <c:numCache>
                <c:formatCode>General</c:formatCode>
                <c:ptCount val="2"/>
                <c:pt idx="0">
                  <c:v>0.6528</c:v>
                </c:pt>
                <c:pt idx="1">
                  <c:v>0.6384</c:v>
                </c:pt>
              </c:numCache>
            </c:numRef>
          </c:yVal>
          <c:bubbleSize>
            <c:numRef>
              <c:f>Sheet1!$C$2:$C$3</c:f>
              <c:numCache>
                <c:formatCode>General</c:formatCode>
                <c:ptCount val="2"/>
                <c:pt idx="0">
                  <c:v>907060.762</c:v>
                </c:pt>
                <c:pt idx="1">
                  <c:v>558770.2105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1956"/>
          <c:min val="0.503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3107647592704"/>
        <c:crossBetween val="midCat"/>
      </c:valAx>
      <c:valAx>
        <c:axId val="1011451359"/>
        <c:scaling>
          <c:orientation val="minMax"/>
          <c:max val="1.1433600000000002"/>
          <c:min val="0.2707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2720865882611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89C2EAE-74DC-41AB-8C23-6F65584F9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7AC9ED4-71A8-4F30-9383-B9885C930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F0B37C0-72F8-4AFB-9237-B0DFDA57B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FBB1FED-CD70-48AC-8DC8-D6DD18140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264FE47-206D-4456-B118-56B21A3A7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46E2745-1143-4F0D-AFB5-D630ACD99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99CE4C6-A3F0-4AE7-904D-05CA640E1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B2C0357-8E2A-4386-B4DF-03FDEB7DA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7B0E04D-AE01-4B61-A783-9F2124970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E646228-BE44-49AB-9AD5-33CB39F65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5D0EABC-2FB3-47D3-9D98-33E69AD8B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88AC147-A150-40E1-8D5F-8B47E6D9A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AAB251C-5873-4728-BCCF-B740AC02D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E2BD808-955D-414A-B15F-ABE165248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659494B-15E5-4C5F-A148-38404D943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E4FEE55-54AC-4D97-8D25-0012DE0FE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75D2007-440D-451E-8AB5-F7C6ABC86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6D20939-2AA4-4CBB-AA46-3FFC6695B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6416E2A-DC13-4C61-9C44-0CEAED5AD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6084145-91D4-4662-AC68-72051A231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19278E3-854C-4437-B6B7-A91B401AB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EBB20C7-D675-47ED-9EE2-D8BD54A6F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19D508C-FD8B-41FD-BDBB-821C27255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BE5FE11-8997-4A38-B0AA-487CB2BFF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3FB04EF-A0D7-4DF1-AFF6-585A0D2CC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CEEE576-DB5E-4DCA-B1DC-423F863C2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FD6D126-5427-4B64-9A35-6599B7BF4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01569B4-B8C5-451E-8E9C-70C079E41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B57A1E2-956F-4860-8E0C-8228632DE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B7D1990-B423-445A-82BF-EA0789E8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DE3E247-A194-4A6D-B382-C58274573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B75FCB0-0E64-4865-B4F2-CEC8D85F3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0794E0C-631D-42B3-98DF-EF0F63144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CD97146-2443-465F-B433-201BA0E92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124F093-957A-40FF-99E5-FF1548408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9F15AAA-AA5B-4FAE-944E-99B857413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15C27B3-D7A0-4104-B76E-D60837A58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3BDA857-C29D-4377-AB93-F4BBB9509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F285529-5B1F-4A12-97F4-121ECFDEA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5796704-754D-475E-B765-0E8B0E364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F5CE04A-4C4B-41B3-B24A-C3F4989B7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D0E4F30-9B1F-4428-8586-C9117FC86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6DA14B2-D73B-4499-A27F-7B4E27F18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3F1301F-2838-49D6-894B-561310987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7E353E9-18C6-44E3-BA62-26947947A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5838E1D-3157-433A-845B-5DC115BFB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A253690-839F-4778-9318-A6864EB9E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BDD8F30-302B-45A8-95E0-A075F2F31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CA5A824-8768-4896-A0FE-6FB05BB4A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0383A45-057D-4E06-A000-4746187ED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48E843A-E4B2-4198-A705-03DA9B713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BDFD8AB-6406-4E97-B811-0270A947E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636BE36-8829-4BD5-A5D1-6979E31BF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23439E7-2A0A-4802-A266-921CB31DA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24337FC-F5A1-4117-A313-A179F9DF9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9F712ED-5885-41CF-A0B7-CA4977D03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467960A-C0BB-41EA-837A-B9ABFA623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c:v>
                </c:pt>
              </c:numCache>
            </c:numRef>
          </c:xVal>
          <c:yVal>
            <c:numRef>
              <c:f>Sheet1!$B$2:$B$2</c:f>
              <c:numCache>
                <c:formatCode>General</c:formatCode>
                <c:ptCount val="1"/>
                <c:pt idx="0">
                  <c:v>0.4199</c:v>
                </c:pt>
              </c:numCache>
            </c:numRef>
          </c:yVal>
          <c:bubbleSize>
            <c:numRef>
              <c:f>Sheet1!$C$2:$C$2</c:f>
              <c:numCache>
                <c:formatCode>General</c:formatCode>
                <c:ptCount val="1"/>
                <c:pt idx="0">
                  <c:v>3302.69811320754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12F0A24-6B02-42DF-A0DC-67C3C5A0F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823DF1C-369D-486D-978B-AC39DD0F8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6439BC-553C-4E2B-9438-86D6A300B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8CE1E4C-1E0F-488E-ABC6-0C2396C4B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2B2669F-B6A2-4AD1-B76A-4CA54C592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EB21585-49A0-4E29-8340-863181481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6F5D9F0-8161-4BB8-8BB2-6CCB74590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83209F8-3B57-470B-B418-505206CE2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F266F15-A2D5-41D7-A68C-34D2759B7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F5BC31A-EC11-467B-A561-213DDD112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71210D0-4150-40BB-8AD1-3A347E516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A7C3819-9441-4168-9B34-6071E7C7D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6C874AA-F350-422C-9771-6867ACF57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DCF06CE-154A-4654-803E-704E60797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9C22117-29C0-47A4-A55A-CB54E7508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45B0865-2F16-47D7-93AB-CC1609C2C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D778515-B3D0-41AE-B90E-0B5660918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47B1082-3FE0-446B-B4D8-D5E2AB211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0CCCEB4-33C9-4E25-AFA3-F77CB9617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9ED7355-5F4F-44DF-BE2A-0236A5676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03D5117-C70F-48AE-83C2-24A9E79B6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ECE963D-669B-4190-BC91-2E8CA33C7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E34167C-471B-4E1C-B485-02838CBBD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06E96DC-5070-4D8A-87AB-99E16B0BE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95EEF8E-AE74-4ADB-ACA6-7B935E273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F3DEDFB-1CB3-4176-9EEC-A01876974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4019FD8-EAC7-4DA2-9AB4-1F85449A1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FB30C36-3B91-42EC-9840-138C88C15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7DB29F3-7B6F-4BB1-907E-29D416C1C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0BDDA21-6178-475F-9833-42B275366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68EEF4E-7EB6-446A-9B79-09D5D6C8E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B11D296-2F7B-4099-BCD3-1E2104427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14724CE-2A40-4A83-B869-FC1256AE8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A68D46D-F21D-4DD4-AFDE-25ECF80A2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F3B7C26-0D28-4FF3-9E3F-B8F68FAE0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87E4B5D-B9DC-47FF-887B-EE9D01887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9973CFD-3ED7-41EB-AE33-ED1F3FEE4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D7D6DE5-9AC8-436B-8EEF-3DC53F112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A66E00E-CE81-4DF6-A85C-52433764E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2AC25DA-B070-4BDD-BF14-EB124BE69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66128CB-49DB-44F1-B188-8CECFB1D0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6F171CE-4CA4-46C1-BF42-EABB2E9C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14A7DB5-61B5-4EDF-95D7-52BC9BBF7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DDACC2A-A109-4DA7-B735-750843B8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A8FCA22-61B6-44EF-A74D-5FBED0BDA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F84D15C-0F43-4AF7-B0E6-8B24E0BE9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586F674-B333-447A-B162-EEC4EDC3C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79B2133-B207-4ACB-A74E-C9D82818C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0BD29B9-C974-4836-9418-D80F91FB7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28AF645-5B99-426E-967D-481A79495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4BD36D1-BB41-43E0-B5BC-37A3E50BF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3B2DE91-A24C-4290-9D76-81134AE91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99C537C-E3A3-4128-B9C1-A5B2E26AA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A0C8BA8-2118-4D60-8025-B16772280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412463C-C02F-403F-B401-AE58183C5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C68FF44-FFA0-4A49-803B-557A593E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208204E-B6FF-4A58-8E7D-FC8413054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831</c:v>
                </c:pt>
                <c:pt idx="1">
                  <c:v>0.223</c:v>
                </c:pt>
                <c:pt idx="2">
                  <c:v>0.3675</c:v>
                </c:pt>
                <c:pt idx="3">
                  <c:v>0.3918</c:v>
                </c:pt>
              </c:numCache>
            </c:numRef>
          </c:xVal>
          <c:yVal>
            <c:numRef>
              <c:f>Sheet1!$B$2:$B$5</c:f>
              <c:numCache>
                <c:formatCode>General</c:formatCode>
                <c:ptCount val="4"/>
                <c:pt idx="0">
                  <c:v>0.6078</c:v>
                </c:pt>
                <c:pt idx="1">
                  <c:v>0.2544</c:v>
                </c:pt>
                <c:pt idx="2">
                  <c:v>0.6037</c:v>
                </c:pt>
                <c:pt idx="3">
                  <c:v>0.5305</c:v>
                </c:pt>
              </c:numCache>
            </c:numRef>
          </c:yVal>
          <c:bubbleSize>
            <c:numRef>
              <c:f>Sheet1!$C$2:$C$5</c:f>
              <c:numCache>
                <c:formatCode>General</c:formatCode>
                <c:ptCount val="4"/>
                <c:pt idx="0">
                  <c:v>1754.0</c:v>
                </c:pt>
                <c:pt idx="1">
                  <c:v>17159.559193954658</c:v>
                </c:pt>
                <c:pt idx="2">
                  <c:v>21416.964285714283</c:v>
                </c:pt>
                <c:pt idx="3">
                  <c:v>48994.8943661971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BE697E0-BC27-4B79-B627-B1A3B53A5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06AF109-8318-4017-8D40-459E14083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1A31E2-02E0-439A-9BCE-872F06DC5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91DDB5-4351-427B-91B9-50241D891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A0D7D4F-DBEA-4E1B-ADFB-2F9A27B97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C9C5BB0-A23E-42AF-8C06-06023FC11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143FC49-7C1D-439F-86AB-4813CBA6A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1B21E55-D4C1-4F0B-A905-AEA6D3CBD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31ADFA5-2061-4B68-8E10-88CF992F5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0D0F2DD-BBED-42BD-86EF-093D0F2E1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7675CC7-A9C3-4819-A721-F265F2223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3CCBD80-FBB1-4573-8C7A-F4B176D41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297BEFE-EA72-49CD-9F27-EF5B99A64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D2685C9-6205-4028-81AE-3C8D1723F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794F851-505A-4377-BF26-754D3778E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EBA5A72-DCAB-4DB1-A9F3-831A6896F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7285149-E46B-42E5-BEAF-B09FF51DB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A3C2CEB-28EF-4168-8266-36E66F026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17B04A7-D397-4754-B809-57A1C06E8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38A44B8-6F52-4B87-B866-CBEC1EB4E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4E4B3DE-4777-4508-B84E-DA1BACB67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4571331-5668-469B-B23A-1C9C7C54D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C174912-1FDD-45B3-A088-0BDB5A8CF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0E7CDD6-1ADE-44C1-B510-B8E6DF50B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DC2B367-8092-4A70-99B0-621ADE33D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DB4F207-1E3D-4E4B-8901-4E7E050B4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C4938A1-FB2A-49AC-AA7E-601BA416B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034EDBC-A5AA-4A37-A54D-EA856EE89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91A1BC9-6EDA-49E4-A2FA-D381A256F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80DE09F-5BB4-43DD-AB5E-1C1C02FB1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813429E-FF1A-48BB-A180-3FDC94005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A6E8866-17EC-4217-9F61-351ECD7FA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6FF66CE-EF91-4A94-8FD6-5099E125E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B9E22F1-E210-463A-8537-DB79C732E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3799E5A-31DA-4B0B-98A3-246C1539A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3AFEEDE-CCCB-4802-A98C-2610EE513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739D302-E763-4043-92E1-F60A82178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D8403E9-B35A-4E04-8CCC-F90E1BC4A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E264F30-4316-4386-ACE5-D789C510B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42B3A46-1BC2-451D-AA97-0632972B2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1221172-5D39-4732-95E7-F6AB6DEC6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90A831B-FEF4-480B-92A5-85A9D2D14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C0DE021-8D47-4E45-B363-0B27AC552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BFB9B02-4DC9-4D79-B0D9-B2C8A052C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E23FA80-1C06-42C5-9676-3E2C65DFE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2B092F8-7A55-4CB1-A1E5-09E04455A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77192FF-7C28-41BD-BE14-B9102CA57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964BF21-9813-432C-B105-B495B028F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10E7EF5-13E5-435D-9EA3-F64CF41D9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0033FD1-9572-49BD-A983-9C05F68D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5906887-5E42-4DBC-BBDA-4F38E2109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3D54257-2635-40E0-B0C1-CB82F5C5B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2FDD180-5D33-45B2-B5DE-27EB2C20D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E3E9F61-9025-4875-8EB0-E1F30A7AC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41759D0-7EB5-49BD-BBED-54EF643FA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7084797-0B63-48E9-B2B3-0378896F5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C4AC59D-8EBA-4EC6-85DE-D764507CA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8</c:v>
                </c:pt>
              </c:numCache>
            </c:numRef>
          </c:xVal>
          <c:yVal>
            <c:numRef>
              <c:f>Sheet1!$B$2:$B$2</c:f>
              <c:numCache>
                <c:formatCode>General</c:formatCode>
                <c:ptCount val="1"/>
                <c:pt idx="0">
                  <c:v>0.3715</c:v>
                </c:pt>
              </c:numCache>
            </c:numRef>
          </c:yVal>
          <c:bubbleSize>
            <c:numRef>
              <c:f>Sheet1!$C$2:$C$2</c:f>
              <c:numCache>
                <c:formatCode>General</c:formatCode>
                <c:ptCount val="1"/>
                <c:pt idx="0">
                  <c:v>7625.12820512820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94C634F-807E-40A7-BB94-4C1F0CA44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F5A8975-2F59-4BD7-8B5B-840DD85BA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2FF3051-A709-495C-9E93-947185CA6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5BF754B-E5C8-481B-BE91-F97F39DF4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EE64177-0E68-433C-86D7-65B7856D6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B7B8B86-B448-44FC-821D-03CF770BE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8468A34-D8D2-4B69-848D-B16E264C0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D6A8553-C01A-4ECA-A8D9-06A50CC4E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83E9D8C-1BA0-4201-9364-F5409D1BF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6147F0A-00B1-428B-81F8-E84075FB0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007FF42-8A8D-4178-8D7D-F181DF0FC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AC0CDB5-EC12-404E-9A9D-A4CA5E47B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ACCC850-572B-4E69-B44F-07369FA8A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B2E0E57-4E62-4D4B-B21B-243C42D34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483B54E-9318-4441-80A4-AAFAE2842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2E59740-25C6-435E-8017-28CDB39C3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E524E7D-B476-4073-BA95-98F0FF1E0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A66B878-94DC-430F-956B-A59201752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B3E14CE-1A60-463F-BE4C-C92AF167C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507F6D4-7183-460D-BEE3-5111BFE52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DB58855-BD54-4A0C-AD3C-B3BF13F0B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95A3D3A-EA27-4DF6-A56D-D868EB357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6C8C9A4-34B3-4BD7-8E84-4C9AEA86B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0E133A7-2C47-4A15-BD52-2097404C5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65DAE6-CC32-4DF8-B43A-D36A61A85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D5BBF3D-593F-4058-9E0E-53610237E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1A985F0-B8FE-42C8-B9A7-BD1EFD202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31A5CBE-6BE6-4809-AF2D-01FB8C648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B72933B-D49B-4FD5-B013-4C3F118BC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CF80642-2872-4068-9AB4-B0567F7AE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1914279-74E9-404A-823E-39A957225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5025612-DE8F-465D-AB32-228AB048D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31F90CD-2991-4F82-AFAB-4BEF5D251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75E3753-0EA9-4C40-80AF-F22C756D7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7AD2F1B-F448-4593-8C8D-DE0D02D63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93D2475-B557-4FC2-B470-966F36087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B68DEE1-BDDC-46AC-BCBA-64B468079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290ABA4-02CE-4F41-A141-1FA9AC691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88B3165-96A7-48B1-AB4A-A7F457E11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945FE09-FB65-4A98-A769-0893087CE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2E41E24-044F-4E11-AC95-E10FCC2C0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3A28ED8-32E5-47C6-B9E1-A4C2A0801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402A501-A45E-4FE1-B598-28C02E84F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B0A1989-C76B-4EF4-91D1-CE6A66819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463BF3D-97CA-4B57-A0DC-5E741E57E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81EBBBD-61DB-458C-B605-C393C08BF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6B4EDC5-3D80-42FA-9A31-894D12AB5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BCA6073-FE12-44A2-88F8-0206D1705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91AE350-D7C7-48D5-90B2-C7E06D5DC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8A654B2-A2DA-43B3-9F44-EE976FF7F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E74348F-5F30-43C2-8996-0348EB2D2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3821340-CF7D-49E8-AE4A-FDC6417B0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42F5D2D-C992-496C-B3AA-E19F5ECF0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DEABD71-FF52-4F07-934B-234BBA0FF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1F9CD5F-1910-48CC-9B42-71338845A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F4395E2-AC2E-47F9-B01D-337B27470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0359A44-BAFF-4AE4-81A6-8414D86CB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0.4198</c:v>
                </c:pt>
              </c:numCache>
            </c:numRef>
          </c:yVal>
          <c:bubbleSize>
            <c:numRef>
              <c:f>Sheet1!$C$2:$C$2</c:f>
              <c:numCache>
                <c:formatCode>General</c:formatCode>
                <c:ptCount val="1"/>
                <c:pt idx="0">
                  <c:v>31615.11318242343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E304F52-CBF1-40AE-B88C-180FA094A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2DDF25A-F4F3-435A-AEBD-9DB413DBF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4EC5AD-402B-46DB-B8C8-805C30D50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0A2EC7-F778-4A16-99A2-20F4B3F49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5AFE2BC-4C6C-4E95-84A4-565EA2AAC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1E5DFB0-F1ED-4E2E-B409-98EE6EB38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68B343B-EBC7-424C-B6E2-C588F039B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63AB13D-5A29-4F81-B3D7-36D5D6A69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569642C-F8D4-4F9B-A8E6-3EDC54693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A751EFC-3DF0-47E8-A4B3-593A5A9DA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3461486-5C1B-4804-815E-9F3EE45BE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26DBC2F-034F-49E8-9004-0F4D61058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5666DCA-71C0-48A4-9E42-FCA665EBB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3516382-1AA8-46BA-86F6-2278277B3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2DD62A7-6C0E-4BC6-BAC2-8858DF3E9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8CD8606-F492-4F29-8001-609C64CDC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934E61D-071C-40D4-9639-4F8E2318D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04ED34F-4686-4205-BB43-3529DBDEF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E35E152-B5F2-408F-92A5-7B235656A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8AFED5A-611A-4304-A25F-87938BB5E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4670562-DCA4-415E-9C78-7153DABFF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8235A13-04CD-42B7-A2BE-777FC23DC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F69B6C8-3D07-42CF-A01D-BB03FF076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4BAB374-6472-4237-9DBD-C435A9025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C824C84-CAA0-4AF5-949D-01BF729A3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1EE906A-9440-409F-9BB7-B58804822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2E9B453-812F-430F-811D-68A51883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06F552E-9D71-43B7-BAF9-AC6613099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90C421E-2D95-4C10-862D-7148F52C6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70F8872-BC5E-48AA-8CB0-0785740BD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C0C33D9-B8CE-4CC4-945F-65BB0C9AC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C27C5EA-19BE-4884-9C23-F311868EC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010DC14-5ABD-44F7-96DD-1C74004A6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2520EB1-77B4-4BF6-B59D-6C98BD6A7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3361A2C-A884-4CA1-AF52-A7953D805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655ACAC-86B3-4D4A-B7CE-F2D7BD65B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A686399-B540-4D3B-AB85-81B2C9F31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874FC0D-F7CB-43AB-AB4C-5C235B2F1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49EFE69-57C8-42F3-BC36-94CD49CE2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0492387-6172-4F78-AF6C-21F1BE62A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F4851D6-7CA4-4E24-84AA-734FF9C88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755B13E-4EF6-4C35-97C9-81AB6191C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E9FB0E9-56D3-4F44-9357-F466B408F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0680A25-EE93-45A8-8BDD-E27283BBE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1438D08-B279-4044-B55E-30460B9FC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017926B-9CCF-4F75-845D-09D797861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14FBB31-F5B4-433B-A5D4-35425FB7E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2EE60DB-765B-4844-A5D9-DBD94F63A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FC45C9F-9563-4796-B9DE-7EC1D76E1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8D9FD4D-F884-4934-8E20-1CE8F73FE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2040DD6-8B48-4A4A-97FF-C15C0F559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BA44E79-BF43-4088-BEC5-C4945B254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3B4F08C-0BD8-4E44-95DE-2BD5F272E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7E2ADC5-076D-4319-82F7-F1E0A3947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9B65A3C-CCEE-40E7-B1A0-F393EBC5A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88F619B-C8B7-4D7E-9EC7-0DFCE1F85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4987F48-8E26-4668-957D-452FF7758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1.6975</c:v>
                </c:pt>
                <c:pt idx="1">
                  <c:v>0.2203</c:v>
                </c:pt>
                <c:pt idx="2">
                  <c:v>0.2809</c:v>
                </c:pt>
                <c:pt idx="3">
                  <c:v>-0.6721</c:v>
                </c:pt>
                <c:pt idx="4">
                  <c:v>0.321</c:v>
                </c:pt>
              </c:numCache>
            </c:numRef>
          </c:xVal>
          <c:yVal>
            <c:numRef>
              <c:f>Sheet1!$B$2:$B$6</c:f>
              <c:numCache>
                <c:formatCode>General</c:formatCode>
                <c:ptCount val="5"/>
                <c:pt idx="0">
                  <c:v>0.797</c:v>
                </c:pt>
                <c:pt idx="1">
                  <c:v>0.6948</c:v>
                </c:pt>
                <c:pt idx="2">
                  <c:v>0.7271</c:v>
                </c:pt>
                <c:pt idx="3">
                  <c:v>0.7947</c:v>
                </c:pt>
                <c:pt idx="4">
                  <c:v>0.6903</c:v>
                </c:pt>
              </c:numCache>
            </c:numRef>
          </c:yVal>
          <c:bubbleSize>
            <c:numRef>
              <c:f>Sheet1!$C$2:$C$6</c:f>
              <c:numCache>
                <c:formatCode>General</c:formatCode>
                <c:ptCount val="5"/>
                <c:pt idx="0">
                  <c:v>897.7777777777778</c:v>
                </c:pt>
                <c:pt idx="1">
                  <c:v>75823.49665924277</c:v>
                </c:pt>
                <c:pt idx="2">
                  <c:v>21518.936170212764</c:v>
                </c:pt>
                <c:pt idx="3">
                  <c:v>5644.0</c:v>
                </c:pt>
                <c:pt idx="4">
                  <c:v>68443.0063694267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91F539D-9B40-4D55-B64F-A7AA6A02F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AD65FDD-2D17-46E4-BD94-82D4170A7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32D99CB-4725-43A9-B8E1-98427B8F5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525B15-3271-4A67-B054-71FD0DFAB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5A41A3C-FA95-4BE9-A225-CC41E8EAE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5C95AAB-B411-4C8E-9C32-A09A4255A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3139EBF-8688-4D0E-9E2C-9F19B7D6C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307C339-ED06-4E0A-8481-AC65BADB0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679092B-092D-406B-927E-0F9E5F86F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AC32C45-A4D3-44CA-93D6-FCF7908DE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FABF108-09ED-419B-9AF0-677B8CF92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EA9B837-A30A-4720-A457-564063E2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AB1CC0A-87D1-4EAE-AE97-C660E6C56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724AB7A-295B-47E6-97B2-951722491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E84FDA3-D282-4642-A556-F3CA4FBC0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691C742-7412-4CFB-A8B4-5603D74CC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C5F9F6A-98F6-475D-B774-D77B7D510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397E181-3F16-4D69-8BA8-0BCF33692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385FEC5-27BD-48D2-BBFA-01FF9349E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AE42830-00DE-40ED-AF72-60D05261E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30519B2-1E64-4452-92F9-8EEC1649A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84A74AC-4C8B-4A92-82EC-53BFA6881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4144733-C3A0-4062-A684-4BF3E3EAA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00F8DAB-5093-4181-A354-9CAF59FDC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A801E97-ABB1-481B-A3CC-963775D03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BEDB0ED-1409-4CEE-8AE2-4756D2BA7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ECA3BD3-6FF3-4E2F-B29A-4732684D2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61D6604-0A1F-44F7-8B28-A3564562C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E1734EE-8C18-411B-AD82-3F8B29D1A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4C6C2B7-A6E3-4A35-B031-FDA4870D3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E61E56B-F8CE-42E5-8731-8D0C426EF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7CAD60A-BAFE-49FE-997E-F543F57B4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36B5947-03DE-403B-BF41-4D03C6BD3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7DFC675-F2DD-4F9B-8A18-018C1267F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CF8DBCF-D284-4DEA-A173-1BFA4CA7E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008E617-B52C-48D9-9A6E-D171B6BD0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C29DC91-31E8-4523-9764-A66E9DBB9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0C95977-8660-4D08-85D0-F490E03D7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C099669-0B9E-4FD1-8097-6AEA601B1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3BA1247-CAC2-4317-B331-775F32196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1059F39-04EE-460D-8B64-5759BD2C6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88A6320-5B26-42AA-A658-7D1FB786E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3D4A7B9-04C5-4CB1-9D7A-398E577E8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64AD586-9EBA-42D0-AD2A-6D1475355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FB53660-B65F-4068-9B66-830D7978C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FA9C155-E4D0-452D-AE74-E099B51CA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0221CE0-0A5D-426E-AB46-31F3E5F76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DA0ECF4-6086-49AC-BF78-0B69F451D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373E550-C892-4220-B048-6F530A9CC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7B329F0-81BA-41C2-B547-7E01FEB02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87B1978-8A7E-451D-B1B9-96ECC0A65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42777EA-5472-47A2-B696-E6C12D3F4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6589A77-FD0D-43A7-98D0-025654120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1D928C4-A2A9-4663-B33F-BDA157FD9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77F4055-F6BE-4B2A-BEB7-9A9E9B839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013ABF2-CC00-4FF0-9953-4715ADA16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FF9DF8E-2332-4A88-BF55-B8FAF3193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56</c:v>
                </c:pt>
              </c:numCache>
            </c:numRef>
          </c:xVal>
          <c:yVal>
            <c:numRef>
              <c:f>Sheet1!$B$2:$B$2</c:f>
              <c:numCache>
                <c:formatCode>General</c:formatCode>
                <c:ptCount val="1"/>
                <c:pt idx="0">
                  <c:v>0.7136</c:v>
                </c:pt>
              </c:numCache>
            </c:numRef>
          </c:yVal>
          <c:bubbleSize>
            <c:numRef>
              <c:f>Sheet1!$C$2:$C$2</c:f>
              <c:numCache>
                <c:formatCode>General</c:formatCode>
                <c:ptCount val="1"/>
                <c:pt idx="0">
                  <c:v>6750.3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131A3B5-D73A-4ECC-B365-FB37CAC4B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2AE0D5E-78AA-4669-B2E0-8F132544A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8CEE43-98A3-4139-8289-65FC73FD7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F6CDAC5-6EE1-49E2-8E20-3E3B082B6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A75586E-8E73-4312-945A-DA3434F94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1D5EE07-44D8-49AE-A5C7-F266DC381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7953E82-0547-4E9A-A0DF-51FA737A1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FC0C703-80EC-41B0-81F5-0B78CA720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D91013E-6062-4F3E-AD13-FDD6DFDBE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6C54A8E-5234-461F-AF42-1E95057FD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2B35806-DA37-4B42-AC94-27BBA20AB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8EC38D4-C326-4485-A52B-9FE79EDE6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F9D4B46-E375-45B9-8B75-8951A01D9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A388382-9D67-4FA4-9A7A-48F593378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CE74BEE-8F70-442D-B130-A02DB9452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37F6F7C-5A86-4649-A6D7-6A9D3E4DE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D11F780-540B-4723-8457-B61237179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0C7D73A-451E-4D2E-9F93-E04DC9D72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8A6E240-94AD-4E48-A295-7D81A1176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2B8741A-D513-4B3A-8E29-D3396DCF5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E41010D-AB8C-4BED-B5BB-F3354726B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183CD80-EEC7-42C5-B708-C471735AD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F7A62C9-0728-4851-A21F-81B00650C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4479206-9640-432E-9ECF-BC9F47AFE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AB1B11D-B44D-4387-872C-7682D72E3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91D49C0-FD7F-4C3D-94F5-9A615D3E0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5D23156-2A0F-45BE-AC49-079916D50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A26EDD4-8E13-45E9-B5A9-FBF62E824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494E876-F5BF-463C-A2B5-051070EE3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715664D-7799-4682-8714-74CA530C1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FDB31CA-5589-4633-9D6E-693839843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68B723D-FA08-4A03-A9B7-41B628C12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BE2D523-57B2-4F51-8435-D09B6509E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3F24D7B-DEBD-4FC2-8C6A-45E9ED067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271782F-06B4-4820-9107-A985A7B4A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E7A0630-1EE0-4514-9A52-829E4A46F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6B8787F-F002-4E4C-9673-C3CE65510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3594EEA-0951-40BB-947E-6DFACCCB1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E8E33CB-2D88-4CF8-8279-C10FF5A39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C51A125-58FD-4725-BD57-C82F750A3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AFF5E61-E39E-4DDC-A0A7-33E5F919A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06498D7-6F67-48D4-94CF-A3530F65F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F266636-F671-4230-A64C-738388327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E0DBD07-2049-4229-A560-3B1C1237E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C87A137-26E2-4062-A07A-9E9F16C7B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C562B70-87B4-496F-B154-F04FF3BDC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E05E051-4BBE-4FE6-829A-CA785718F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8EDFBD8-9D8B-4547-B984-EF265B355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251400A-479E-4ABE-8EC2-030CAD5FD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22428F9-670D-4003-BA0A-9B87A2657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A018904-C276-48BC-985B-7B03CF7FE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D557B15-F30C-463B-9738-0A678A9F4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E3D441C-689C-41CE-A1CB-6CD3AFE85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5F0B234-E611-44A6-AA3B-45CE4D8BF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82557C6-6C10-4B64-9281-5E6506B1B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9E6F582-D2CD-4E9A-BE89-D159B7093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3F34452-BA69-4F18-9E5A-BC5A8E1FB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051</c:v>
                </c:pt>
                <c:pt idx="1">
                  <c:v>0.3987</c:v>
                </c:pt>
                <c:pt idx="2">
                  <c:v>0.4029</c:v>
                </c:pt>
                <c:pt idx="3">
                  <c:v>0.43</c:v>
                </c:pt>
              </c:numCache>
            </c:numRef>
          </c:xVal>
          <c:yVal>
            <c:numRef>
              <c:f>Sheet1!$B$2:$B$5</c:f>
              <c:numCache>
                <c:formatCode>General</c:formatCode>
                <c:ptCount val="4"/>
                <c:pt idx="0">
                  <c:v>0.7386</c:v>
                </c:pt>
                <c:pt idx="1">
                  <c:v>0.6837</c:v>
                </c:pt>
                <c:pt idx="2">
                  <c:v>0.7091</c:v>
                </c:pt>
                <c:pt idx="3">
                  <c:v>0.7317</c:v>
                </c:pt>
              </c:numCache>
            </c:numRef>
          </c:yVal>
          <c:bubbleSize>
            <c:numRef>
              <c:f>Sheet1!$C$2:$C$5</c:f>
              <c:numCache>
                <c:formatCode>General</c:formatCode>
                <c:ptCount val="4"/>
                <c:pt idx="0">
                  <c:v>779.0</c:v>
                </c:pt>
                <c:pt idx="1">
                  <c:v>10233.439767779391</c:v>
                </c:pt>
                <c:pt idx="2">
                  <c:v>38536.181506849316</c:v>
                </c:pt>
                <c:pt idx="3">
                  <c:v>54222.520710059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F039104-85E3-41B8-9E2B-195B7F30C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F2E5C31-E272-4B51-A959-196B45D68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D4148A6-F4E3-440B-A7E6-981D9BFB0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A5D0491-17EB-47A2-B302-CDCA354D9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3118383-A6BC-4E14-895F-3E0CB4582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61644A4-426E-4D6F-9DC9-E597ECF84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0710418-A15E-4C6E-9A51-96B94A4E9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C35E368-5425-4F04-9A47-DA65A3E0E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CCB8222-B7FE-4789-81D9-87366C1F9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7B8F1A3-CB7B-4B7B-B3C9-DC3C1A8FD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50E2698-3379-424C-8FFB-8BD2281F2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10688A6-B61B-45D2-8682-AA901434B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EC86279-51DB-4112-B3D9-9F1AAD7A6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420108D-3885-4FCF-B068-A175292BB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718ACFC-2729-4C56-80CB-264A0E0C5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72BC5C6-BF45-41D0-B564-21AD71F01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56C2314-219A-4D6B-B341-4E40EAB64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E210F99-CB5A-4856-A099-7B96F23FE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4D26442-FC57-4401-980D-F11178408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CC8217C-D224-4F1D-9677-8553A4546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B60D57C-5C2F-40B6-9247-D8D8EDDF1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CE11BA0-4EE0-4BD9-BE02-FC0B17ED6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112DAB3-90E1-43D1-AD5A-D2E7289F2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85A1450-D547-40AD-9645-A0CDA3664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B111A20-ABD7-49AE-9DA1-F83C67D50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CBD2B92-3BC8-4205-93FC-8D126D13C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A46965D-7631-4E6B-A38B-52E2EF33C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C9E69F5-F114-40C8-A0E9-CC6362847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9CD475D-F287-4F7F-84F0-BCB4D2B49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E671F24-8F3A-4D0C-82D3-C01714DFD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D349AB8-7D33-4F85-93D3-2A4556AD5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910C5FC-F1B4-495B-B807-D2E200843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6E3A764-EA82-4A44-9D7D-D19365BA3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D3F250A-ED48-404A-9F5D-2007DE345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A1D20EB-775D-4B7B-873F-E6B094909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646187F-1E47-47BA-8C40-54BE56C2B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4EECC6C-1D01-430F-869F-F1A55D055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9A201F3-832C-447B-A1B4-4425BF791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2CAB167-D99D-4EA4-B9FE-9A26A9779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027B585-6CAB-4046-AF2E-10190BF47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B8F0AA5-C77D-480B-8729-B5E68B33D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7DE4A82-243E-45FA-8E85-D25558912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EACBE79-457E-4372-A25C-57E5D76E7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8C616DF-4C0D-44E9-A0EC-F49DE8CE4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CD5B86A-7E19-4C60-8703-6E30413A7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758DC83-3108-4C00-8E1D-DEC5C988A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1771646-97A9-4B03-A05E-161DAF1B1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EBBA542-3234-4DFA-AB1C-C1CA94666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07BA4F3-C98D-4062-8EFF-11C8E797E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22E73F6-A587-4DD4-B70C-2071BCFFC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7F516CB-861F-47B8-925E-F41F6BC40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F9268B8-41A6-4D2F-97D7-05A53C84D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EE8739F-38F3-4963-8FD5-F3F924878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D70B9E8-D5EE-440E-BB6D-4FB89C759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A474C8C-6C95-4560-A72D-D06539357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F0CC518-0E52-4438-AD33-94FCF1425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3328549-58B6-4E1E-8ECE-5B9A5AD83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194</c:v>
                </c:pt>
                <c:pt idx="1">
                  <c:v>0.2027</c:v>
                </c:pt>
                <c:pt idx="2">
                  <c:v>0.3207</c:v>
                </c:pt>
              </c:numCache>
            </c:numRef>
          </c:xVal>
          <c:yVal>
            <c:numRef>
              <c:f>Sheet1!$B$2:$B$4</c:f>
              <c:numCache>
                <c:formatCode>General</c:formatCode>
                <c:ptCount val="3"/>
                <c:pt idx="0">
                  <c:v>0.695</c:v>
                </c:pt>
                <c:pt idx="1">
                  <c:v>0.7269</c:v>
                </c:pt>
                <c:pt idx="2">
                  <c:v>0.6906</c:v>
                </c:pt>
              </c:numCache>
            </c:numRef>
          </c:yVal>
          <c:bubbleSize>
            <c:numRef>
              <c:f>Sheet1!$C$2:$C$4</c:f>
              <c:numCache>
                <c:formatCode>General</c:formatCode>
                <c:ptCount val="3"/>
                <c:pt idx="0">
                  <c:v>5275.419354838709</c:v>
                </c:pt>
                <c:pt idx="1">
                  <c:v>1055.75</c:v>
                </c:pt>
                <c:pt idx="2">
                  <c:v>4560.02531645569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6A90BC5-B3E2-4EA6-A0FA-49CC16536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B2A9412-6888-4F7C-8593-022C67B37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929BDF-1974-434C-8963-6070E2E24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1115160-1F29-4383-8A25-3FC01CB4D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3D4AB7F-3D71-49D0-AE33-9A66CBAE2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17636DE-D99F-420E-91B8-5DE2F1B76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94AF86B-F701-4776-A890-196A4D56D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ED3AFC-F3A7-439C-83B8-CBD3B8EEC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3DD726B-E7D1-4990-BD44-1BC6445A6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C327EE6-1DED-4FB7-8FF4-5399EFC1E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2EF148E-D7D8-45F8-BA65-3DBF788F3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F64D341-F5B4-4246-A96F-D96E0760C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E79C23A-AD32-4CA0-92D7-FB767B8E7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A635766-155F-4665-A68E-8DD3FB786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1C84F1B-29E8-4116-8C9C-3264E8A65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3378EF5-91D0-4E68-8C4D-589E8E28C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05890ED-1452-4B96-BDF3-135C238AD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74D1566-0A2F-42A6-8B44-C46805BF8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FB42EBE-70D1-4707-834F-CF9C91EB8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A48ABB1-0032-47D1-BBA1-75D44F7DA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BA79C86-8FF7-49A7-A21A-EA2F17F1A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0B8BA6F-7FC2-457F-B0C9-A27151BB0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558D834-57DE-46D9-BCBB-FD555572D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3AD0859-8603-42E4-9B5F-E1055A936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754D496-D6F1-4184-BEF1-0E58CB768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49D2C16-24E1-49DE-9CD9-13F793276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6533E82-9A32-4814-AB88-57A5C8578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32C11A7-2AF5-44E5-BEE0-A91B48394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DFAA62F-8EF7-4B0D-B0EA-EF453511C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F5EAB2B-3883-428F-9055-687DB2559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8FE2D7F-EC58-4738-B9A7-61CD04F5F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E7E803A-115B-482A-808C-70A9CE6CA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CD431AC-1010-49A8-8B26-66C412539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0713504-652E-46EB-AD15-D8D497AB4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1B40D3A-8855-4F2D-A7F7-30B7F6E52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C18BF5A-B7BA-4F17-A4C6-8789FCBB4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8042499-7FC2-4162-9E67-E6CA1016D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B3B1A80-AB44-4D04-B159-B8352321F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5DAD53E-F4DB-4970-B933-897B25A50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930DA55-24A0-4013-90FA-58C1269C5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38829C1-DA35-4F6C-8374-C76950220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8D7E118-9FC5-48CF-A135-B926FEFC8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0467303-372D-4502-8619-91FE798E4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675BFCD-E0FB-4C1D-B0F1-703F6F552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E8F9979-5D2A-49EE-8975-19395D19A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ED23ACA-EB91-4607-9EDA-59F0E98FD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D84416A-4C7C-4622-92C8-00850941B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0317EEC-1021-48A0-AD9B-6CC824ECC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5F69890-3599-45CD-AAD4-741099255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E1B507C-AFCD-46AB-A432-F09487F51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B3B80C5-7B76-4C0F-9ED2-261E02163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4575A8A-2BB2-4D8E-8D68-B41433EFA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80068C6-F4A9-4146-BDBF-47A59AEF6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4711F38-F19B-411D-981E-85DF58C90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B90D8DE-DAC9-4AA8-9698-BBA95E0CF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2D3BDB7-044A-4BBC-B298-A003A5277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76ADD8C-4DB1-487D-8B36-33F9914EB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4</c:v>
                </c:pt>
                <c:pt idx="1">
                  <c:v>0.396</c:v>
                </c:pt>
                <c:pt idx="2">
                  <c:v>0.4292</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745.0597014925373</c:v>
                </c:pt>
                <c:pt idx="1">
                  <c:v>2624.685185185185</c:v>
                </c:pt>
                <c:pt idx="2">
                  <c:v>3421.40963855421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EB5EF98-B475-4014-A58A-537190A7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FD6DD27-B043-4438-B280-7E103A08D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DDA0FB0-3EB2-44DD-B70C-0A261C1FC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6C9B66-D8C3-4F7A-AD5A-B1E42DD5E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AECE9E6-9DEE-46EB-8D86-776973478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21A7E66-7BC6-40DD-8A1B-C953257B5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EC89E10-3D3D-4EA5-8425-87C42C23F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DFD772A-00A6-43D1-B30D-1E922E524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B1EEE1D-6708-4386-81F8-B6003834F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833636E-A4F8-4A6D-9CC3-84DE263FF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BC149CF-2CD3-4603-B3E3-29F8CAEBB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DD15258-3B5B-4379-97F8-CEF4D88A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F340F49-4AFF-40C1-80C5-8DD6C98B0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84FCCEC-7DAB-44FD-B42C-CCB61619F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8FE6DF1-FBB5-465E-87F7-31022DDD7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F7300D0-F818-4720-88AE-E23D67391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ABF6DA7-5296-4E1D-AF9C-EC785DB8F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D468704-1D1A-4327-9830-DFCDCA8EA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98BFB33-8C2F-4DD2-8083-7C8D04699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884F1BA-40D3-44E2-BB3C-0F77B18C5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B617488-9DA7-435D-AC35-27A67F01E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A64FC84-EE92-4345-A166-2C7AB87D4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EF62F4E-9746-437D-B9AB-4D6785EFE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8506C2A-7271-4B92-B637-0A0234F56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36A6A2C-2855-4A00-9EFC-728998AD1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51280E4-71D0-46F0-9BCC-DC6939E9F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1DE65C7-7AA6-4518-826E-1A8755590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617C085-F877-4D0C-BE25-748388B48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1DDE5A7-A9C6-47AC-BD95-E1BA8DA71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6D7804A-642E-4C86-8155-6C7A35BBF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BA00689-E32C-4DD6-A5DE-DFF1DF277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E7539E9-F42B-4A41-96F1-195B6E8C1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EF0F419-5BC1-43BC-B25D-7F1BC298A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FCD6376-3EE8-4B4C-9EF1-5E704B47C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6BBE169-0F15-4C43-B259-ADECDBD58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FF1AE31-1A21-4958-9F30-A429187E0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3D5C46A-9C84-4F85-B4CF-0B886F146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2E0704E-B717-4D7D-922C-5447DE10D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0A27D38-3150-4697-A2CC-D915AA79A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FBF6281-14C0-4D1B-84F6-E46FD2F04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E7E14FD-8CD1-4473-93B1-8DDBC7A43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4BE3A36-115B-448D-B89B-9FE26DDAC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319E565-D8F1-4FAF-AAC3-807C6ACA1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C20410A-54AF-4B38-A036-2052BCD84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48645B4-B8CC-4EDE-BB8C-A14320F11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9FC4F04-B38D-4B68-A63F-E51985016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CDFE23F-8CFD-48A5-ABB3-34FC1133A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B9A48A5-871F-44AA-8E97-3CFD8B35B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E7FAED6-61D0-4794-96AD-084FC2474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A5AD3D1-58DE-4D19-99D5-48FB94CBD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1F6001E-C72B-43F6-BBD5-6F8232C30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B6F92A0-CD94-4651-8919-DDBDF6C97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7CD2733-EE6A-48EB-A832-3996FBDE8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7C74AE7-EEE0-48DA-9983-84C90C1C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E940E83-BEC8-49AC-934C-058C0A258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33C76E0-DC3D-433D-8218-5E2817B9E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CA86CF8-8764-408A-AF29-A3D888FA5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485</c:v>
                </c:pt>
                <c:pt idx="1">
                  <c:v>-0.9105</c:v>
                </c:pt>
                <c:pt idx="2">
                  <c:v>0.3205</c:v>
                </c:pt>
              </c:numCache>
            </c:numRef>
          </c:xVal>
          <c:yVal>
            <c:numRef>
              <c:f>Sheet1!$B$2:$B$4</c:f>
              <c:numCache>
                <c:formatCode>General</c:formatCode>
                <c:ptCount val="3"/>
                <c:pt idx="0">
                  <c:v>0.6969</c:v>
                </c:pt>
                <c:pt idx="1">
                  <c:v>0.7947</c:v>
                </c:pt>
                <c:pt idx="2">
                  <c:v>0.6902</c:v>
                </c:pt>
              </c:numCache>
            </c:numRef>
          </c:yVal>
          <c:bubbleSize>
            <c:numRef>
              <c:f>Sheet1!$C$2:$C$4</c:f>
              <c:numCache>
                <c:formatCode>General</c:formatCode>
                <c:ptCount val="3"/>
                <c:pt idx="0">
                  <c:v>914.0</c:v>
                </c:pt>
                <c:pt idx="1">
                  <c:v>839.0</c:v>
                </c:pt>
                <c:pt idx="2">
                  <c:v>7307.55357142857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9F55375-D9A1-4DDD-AAEB-0361CB3E7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1929E29-1D78-45C6-A4A4-082F97C46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047E632-4651-4E12-AE45-009DBDC73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CBE6789-FF55-447E-9956-BC4BAF4FD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77E5300-D412-4996-B370-981DD4B2E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7D23FFB-1F3C-4DCB-A528-70B2B9DF4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8B6C5A1-4F6F-47B8-9D93-FAB24AFF3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AAFB9A1-CB85-4C3A-83D4-AC7AE8E44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814</c:v>
                </c:pt>
                <c:pt idx="1">
                  <c:v>1.3228</c:v>
                </c:pt>
              </c:numCache>
            </c:numRef>
          </c:xVal>
          <c:yVal>
            <c:numRef>
              <c:f>Sheet1!$B$2:$B$3</c:f>
              <c:numCache>
                <c:formatCode>General</c:formatCode>
                <c:ptCount val="2"/>
                <c:pt idx="0">
                  <c:v>0.3546</c:v>
                </c:pt>
                <c:pt idx="1">
                  <c:v>0.6533</c:v>
                </c:pt>
              </c:numCache>
            </c:numRef>
          </c:yVal>
          <c:bubbleSize>
            <c:numRef>
              <c:f>Sheet1!$C$2:$C$3</c:f>
              <c:numCache>
                <c:formatCode>General</c:formatCode>
                <c:ptCount val="2"/>
                <c:pt idx="0">
                  <c:v>952941.4383000003</c:v>
                </c:pt>
                <c:pt idx="1">
                  <c:v>356505.1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73599999999999"/>
          <c:min val="0.2251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296740464387"/>
        <c:crossBetween val="midCat"/>
      </c:valAx>
      <c:valAx>
        <c:axId val="1011451359"/>
        <c:scaling>
          <c:orientation val="minMax"/>
          <c:max val="1.14396"/>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492774775760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6A305FD-1290-4BDA-869D-60AE866ED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E6C3531-E532-407B-85A0-DF1238CC4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263C577-534B-4D80-8E8D-CA1B1C340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9A95055-66AE-4B32-9DAA-20FDBCA35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7B7E4E4-7A63-4693-846F-5D714BF3F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4B6AE0A-E8E4-46C4-A330-41479C1AF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359D750-E3DC-428E-AB35-D767D62BB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41EAC4-15F5-4B0C-AC56-E43E0E817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3D33A56-3B6A-4A45-98AA-5E550075F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C225DEA-D7DC-4EFF-A542-18C83E851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951FB1C-BFFE-439B-8483-1703E58E6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3F9A2E8-A9E4-4F78-978A-064D5180B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D97BA46-1810-47AA-9448-5C14011B4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FC08E2B-9B26-47CB-9481-DBE4B4211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AC818C1-BC0D-4268-8A44-A5F06335B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FB18026-E33F-4187-8C8F-DD887FE3A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7B68BCF-EE3E-4594-B3F8-31E201AF1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030CA6B-959F-44AA-83D8-CCD8CC308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4569A74-40DA-4C45-ABED-6915E12CD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16E8C9A-DC3E-417A-911A-473C016C0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7192230-0776-4853-8AC1-55FD8FFE3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8FD7F78-21C0-44C4-9F86-5215B4835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04EA7D4-2168-48D4-9130-9664483ED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221A45D-8101-4738-A992-618FA36B0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CB9B823-83EA-410B-A9FC-8F74390B1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5302923-0F84-4090-B86C-75A43470E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2FA48FC-999B-40AB-AF55-1DD0CB9AB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A3E3C04-E588-464E-A59C-4497870D7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618080A-D7A6-4C08-B54E-2EEA5E07C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E21B207-3049-4F0C-85AE-732262EEE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DF0D62B-84E0-4796-9E22-E5EE98B33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892E765-10DC-4F5F-AC45-BE4D3CBC2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986617B-ED80-4758-8985-B90C7E5A2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70E2D27-EB88-4EFE-9EA9-574748487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81EB513-D722-428D-B0A3-E6281C348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274F26D-19C6-4B47-A443-CC723A906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B15C5DA-9C34-4090-9A15-3867F84F8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BB34C97-42AF-4A71-999C-93B04D66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A1DEC40-6113-498D-9968-E91B78623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D20BCD0-8478-496D-9E86-C6ECC038C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A846150-16F0-4B27-9B93-A7FAC1E79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4206571-880D-4830-857E-D20B9A300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726C1D9-5FCB-4471-849D-D2E296D64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22EACF9-3F9E-4105-89B6-6D05C353C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2A2BC2A-108E-4ABE-85F3-79A3F9EE4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B759142-AC1B-4352-B001-993962CED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F8A7DC2-F9C7-4B1E-8BBC-28B509496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8E955A7-7FBC-43B2-8AB3-C9F4EFAD8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2125491-B6CA-4FCB-BEFF-110856C91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A2912C5-BBE7-4BD0-B398-99A02877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2901FB8-3CC3-4DD0-8F17-BEEC5446A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50D5A86-894E-4414-9B23-9F399DE17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3ADB749-6104-4866-BB54-6FBD0B25D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586CEEA-3C7E-4309-9D9C-CB21D44FC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D2885E6-AA03-457A-AB7C-EF753D780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959BC5C-91E4-4F91-A77D-7A8981E3A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AAD6082-696B-4230-968C-3CB1B1757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9</c:v>
                </c:pt>
                <c:pt idx="1">
                  <c:v>0.3583</c:v>
                </c:pt>
                <c:pt idx="2">
                  <c:v>0.4303</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1148.3170731707316</c:v>
                </c:pt>
                <c:pt idx="1">
                  <c:v>3361.8</c:v>
                </c:pt>
                <c:pt idx="2">
                  <c:v>4936.0153846153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0A43D83-2AF7-41A2-9765-7C3524A65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9895ACE-C536-442D-967D-1AB1C9A95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6A88411-74EA-4807-9F6E-11630494F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A65EFB-BB15-41A3-89E8-3D603F578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F5AE213-8E29-4F9A-AAF7-629927700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9D1D63E-F7CE-448B-B2EB-3523F0406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B58E0D5-584A-414B-9293-22ACC7D36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DC91E94-391D-4FC7-BA4A-AB8BACDC4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C55F405-6A96-4764-9EAE-AD0886BE3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7797112-C94F-487D-B6DF-BD2FB3687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4EAD28F-4266-493C-8D8E-93083F2F3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5FDCB1-2F86-4A4A-AFEF-4DBC0655E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7D8B7CA-A0CF-4B72-95FE-32E3CE5D1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1A88CE1-7AE5-41D2-BFEE-6690C5315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ECB4D51-BADB-4B08-9C89-4ED7B9866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DEEA275-A495-475A-BFFD-98249990D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EAF381E-C2C9-41DC-89D4-FF97C233B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9832C25-0965-4CBE-9640-8A47D8F26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CFAD397-A178-4922-964F-7D192E495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957D0E0-A1C5-414C-94E2-7BBA312CD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5B18D8C-415A-4C02-BF17-BA41C0E22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8FDCB7D-06EF-4B35-BD40-D9FE0BAB0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94C36DA-C926-4E07-83C8-75E998440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1C21283-FD5C-449A-B356-EA16CE203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72A11E9-9F43-401D-8F2C-FA8BCE2ED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1016D68-9420-478B-BAA0-5F337BE38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49FB7DF-8BF0-47E6-93CA-A1C3B8235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00A948F-BD17-46DD-9B54-F4089369C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3E672D7-D25A-4B60-A82F-C59ECFEC7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CC6F329-A1C4-4446-A0AE-79F6BE9F3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019AE1A-3BAF-4D67-8E69-8322C07F9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C4CD132-EA54-49AD-B7F4-FEB873AA5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4E60ADE-5490-4D6D-B2D7-7BAA027DD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A96A8E4-DB5E-416D-A5D7-AAF84A65F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8596FF1-248B-4A4F-8B58-0621EBE1C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0B76B6A-CE81-4E2E-8C77-DEE542388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F8FE803-4E30-420A-85DF-0842098E1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42B9B94-084F-4BFF-BD4E-41C530DA9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C307CD6-72B3-4F13-B4D6-D3CACBE70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4A3270D-AC94-41D5-9A08-2EB98B1DA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FF3EC6B-15F0-457B-B67B-2E6FC3E5C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B765445-8A80-4BFE-836B-EA0BC89B9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1E7EC34-FBC1-4E67-B68A-C635C8266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7E5B4BF-A72E-48C0-B9AE-8EBC28C54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D4F378D-98A8-41F0-A54C-9DC08E788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AA95F72-2BFB-4526-B6C0-0B04F33FE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E5AF9A0-7742-49D4-9B95-FF7C4B2AC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F0F74E3-7400-469E-8B0F-63CFE6A5C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8BD405C-1E54-4EC6-80DB-7F98BC611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82ACACC-6F6A-4E22-9B23-8434AEC61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6789F7B-2563-4DAD-80BA-CFA8F892B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2181DE9-5C66-48F6-820C-FC312E9F8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2AAE3C9-AFE4-4AAF-82C1-CB01FB235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72E57D9-DB81-44FC-9599-69735E535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23BAA45-8CF2-4A77-B2CA-2BE6136FF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2541E30-0356-459D-A522-38A6BAED7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CD1D987-C766-4954-9007-8CECEEFB8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1.683</c:v>
                </c:pt>
                <c:pt idx="1">
                  <c:v>0.2205</c:v>
                </c:pt>
                <c:pt idx="2">
                  <c:v>0.2843</c:v>
                </c:pt>
                <c:pt idx="3">
                  <c:v>-0.6417</c:v>
                </c:pt>
                <c:pt idx="4">
                  <c:v>0.3211</c:v>
                </c:pt>
              </c:numCache>
            </c:numRef>
          </c:xVal>
          <c:yVal>
            <c:numRef>
              <c:f>Sheet1!$B$2:$B$6</c:f>
              <c:numCache>
                <c:formatCode>General</c:formatCode>
                <c:ptCount val="5"/>
                <c:pt idx="0">
                  <c:v>0.797</c:v>
                </c:pt>
                <c:pt idx="1">
                  <c:v>0.6948</c:v>
                </c:pt>
                <c:pt idx="2">
                  <c:v>0.7271</c:v>
                </c:pt>
                <c:pt idx="3">
                  <c:v>0.7947</c:v>
                </c:pt>
                <c:pt idx="4">
                  <c:v>0.6903</c:v>
                </c:pt>
              </c:numCache>
            </c:numRef>
          </c:yVal>
          <c:bubbleSize>
            <c:numRef>
              <c:f>Sheet1!$C$2:$C$6</c:f>
              <c:numCache>
                <c:formatCode>General</c:formatCode>
                <c:ptCount val="5"/>
                <c:pt idx="0">
                  <c:v>789.0</c:v>
                </c:pt>
                <c:pt idx="1">
                  <c:v>66122.91836734694</c:v>
                </c:pt>
                <c:pt idx="2">
                  <c:v>19381.2</c:v>
                </c:pt>
                <c:pt idx="3">
                  <c:v>4359.0</c:v>
                </c:pt>
                <c:pt idx="4">
                  <c:v>57541.38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13570A2-2A2C-4D2C-8AF5-D235EC9F0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DD340D3-23F0-488A-9BB1-D62DA5F8F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D6E81E-FDE3-4CE7-946B-D1AD1E1BA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F0F2B5-04E2-4EBF-89E1-45BADC99D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D9373-2597-41FE-AB1C-56352572F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80A986C-8C3D-4D63-B60E-A9C180FE5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740A754-3603-4C48-A8AB-BD515DD36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3FD40D6-25E7-4386-93E4-B01CE3F79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D8F053E-6814-4571-AF00-F55D5FAAE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270F379-0F9D-46BB-B266-76CB0D8C9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B5F6F6A-DF76-42C0-9A82-F1E913024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2FB5FCB-D03A-4962-91C6-24E4EB6A3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3819925-1475-4D59-8172-958434813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FFB53E8-AF86-41E6-B2F9-356EBAC52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7F3DD22-6177-4E30-B575-4C513F0DE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ADB9ADD-8C7F-48B1-8324-FF54CE395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A16320F-0540-43DC-901F-2617CCA23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124B1CE-B85C-49F0-8367-C0A62450B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5FE8452-EBAF-4BE6-8A92-3B9EBF9F9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A5ED43E-83C8-455C-94B6-CB792443B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B710061-03F0-4F97-B6EC-385ADA429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3125D9B-1CA0-438F-BA25-06E14AE78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D139D50-E543-4700-879C-A70E7A47B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44A427E-337D-4548-A2B8-4162B19D9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AF377DF-1618-445D-A2CA-C1027743E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515588B-0C99-4502-8CBB-422E6B9E7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2962724-0040-4047-9EE9-4AA1B5037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8A7C586-5509-44CD-879D-D87835049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5DF7933-732F-41FE-BEB2-CF962E545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F0BACF0-3AEE-4DD2-ACCA-07EA35415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68E4873-4FBE-42F9-9491-D7442E6EA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7739D04-24EC-4DD8-8990-12C1444CF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6F2C9EC-C3A8-4987-98D3-B4D036CBE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3721AD8-5364-4CF9-92F1-4B7F1DC78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1427FAF-94A4-466C-8ABD-2543AC22B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1EA6316-7069-49B5-B4D6-212BD3398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2FA8264-5A8F-40E9-9E41-742DD15CA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EF9BDB7-C43F-4758-BB75-7DAC4D5D2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86DFC63-31BB-4CAB-900A-1C1E98EEF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B71C2D7-24E6-4CA7-B88F-8CB572329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7EC920B-A8E9-4236-B76B-C9DB82A5F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07D015C-8C35-4E59-9607-D1062CE41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453E51D-7FA6-4E6D-94F5-92DEAE25A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BDF1FE1-D40D-43B1-A841-D9EC84E9A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4368FBD-A0B4-40BD-9AF9-813C68398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6473807-F151-49C8-9D58-404A726CE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53EF21B-58D2-42E2-9E98-EE3EE5DC2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0FF724D-A0F6-4AF1-A55E-5FE7033E9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01768FF-6A0A-4E0F-97B0-FE2837340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7F1EF82-1E0F-4D88-80AB-5393B50D3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92FC0CE-FB45-4533-AC69-7CB052844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4AC9AFC-4916-41F8-8202-5F8AA13AD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CF79701-198D-4CFB-A4CA-7CC8CD5F8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2FCF056-4CE1-4905-9F14-EBD2D4289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16C1B17-BC02-4D4A-BC60-6EA28CCBD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23B5409-CA02-4184-A508-A2A94E21E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4C67F32-12FE-487E-A6A4-CFB63B9C6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64</c:v>
                </c:pt>
              </c:numCache>
            </c:numRef>
          </c:xVal>
          <c:yVal>
            <c:numRef>
              <c:f>Sheet1!$B$2:$B$2</c:f>
              <c:numCache>
                <c:formatCode>General</c:formatCode>
                <c:ptCount val="1"/>
                <c:pt idx="0">
                  <c:v>0.7142</c:v>
                </c:pt>
              </c:numCache>
            </c:numRef>
          </c:yVal>
          <c:bubbleSize>
            <c:numRef>
              <c:f>Sheet1!$C$2:$C$2</c:f>
              <c:numCache>
                <c:formatCode>General</c:formatCode>
                <c:ptCount val="1"/>
                <c:pt idx="0">
                  <c:v>5990.2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BBE687D-6CEE-44DD-9752-D2968B195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DCBF12D-5939-4312-A798-096A14243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918643-9585-4922-AA39-11632BA12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8325BD9-C6AE-4167-A5E3-5472EE947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446D34C-2222-4802-ABA5-1B0AA8E4A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5DC3743-E8EA-4FDD-AF34-23907535E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98C34AA-EB31-4B9C-B8FB-47D9A3E19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A439C6-0814-4A14-BDD3-FD5E7841F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5683792-44A2-4565-8DE3-414441AD9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EF71983-4992-4805-B2EA-5E62F5FBE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1EC6F0F-547E-405C-A8E2-28CC210FD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DEB3EE-8639-485E-8EF2-5A07D2256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E8FF680-BD9A-429E-91C9-035C9B6E2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C11F8AA-0621-44B6-8AE6-7348F1D2C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C3DD628-7A33-4819-8C86-92B90A460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E1DB4EE-6CAF-4DBD-91CB-E9C979F1E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2B2AFD4-FA6F-4B2C-A532-09AF61E81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90046EC-F6BA-4CAD-8868-638934BD0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72AD5BA-21E5-4386-A66E-9AFB8EE51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75CA7FA-629A-4D12-A602-0E1B9C9AB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4A6CE1E-8589-464C-B5C4-636ABAB1F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D8454A6-5DD6-402A-94F8-A3EFBAC82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3E4AF9A-BA06-4427-B784-32A4E3FB2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1475C25-DB91-4888-BCF1-1A19E5E63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CF3691E-0C3A-45D4-B637-28F39DF27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F049418-3795-4978-A194-8A5F88D68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A2E8EE8-05C7-49B9-9430-7229659D3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D29EE6C-E1D4-4B1E-89AC-EA58CBB43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6AADF0B-7050-4174-B990-0FACEC824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32388F8-CB8A-4745-8ACC-C36BE75CC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BEBCC31-130D-422C-92A8-758D5C2E9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6B54375-27E9-473F-86E4-B7C42DA87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E61BE5C-824C-4F03-A9E0-601B95CCE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97811A2-103D-461F-B316-7CA7321D4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FA1617C-2CD2-47A5-8335-4913D2B23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143A99E-10E0-43E4-AFAA-AD75510E2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8877441-C4CF-4C03-B893-B60907180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308EE2A-D3AA-4FB6-8EDC-59C9FDCCE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F5D59AD-BB9C-44FA-BBDA-CF6D7D1C9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207B736-4AD6-408B-90FB-8E8A3A1AB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7F9B9AB-F90B-4ABE-870B-5470CCA9A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7844FCF-4986-4024-9C72-FDB65F44F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CAB97EF-7380-4248-BCCF-7E565EE4B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905D3B7-C8E7-4204-9895-187A6818C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A5656CA-EA16-43AA-8902-B18B1581D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9AE670C-224D-4A74-89CA-A155163D8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F467146-2D2E-43C3-9D1B-449C3C8C1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B201861-8E8D-4C6B-A867-396B141BD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F2B1970-971D-4EB8-9108-414CB1D97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5F840A2-639C-4637-9EEC-3574CF4D7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0A990FC-5857-473D-9F45-16D2D06A9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82DD355-E644-4255-8977-4BA306927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AEFB9D2-FEC6-4927-AD7C-483AB19EE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2C97695-043D-4B49-8F28-9B961E2B8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CE353A1-D81F-4F89-94CF-12DB87373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A3376B8-647C-43B0-AC95-7AE82EA14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CDDA775-7852-4755-8102-8C5C18874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065</c:v>
                </c:pt>
                <c:pt idx="2">
                  <c:v>0.4301</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8564.56338028169</c:v>
                </c:pt>
                <c:pt idx="1">
                  <c:v>32905.13333333333</c:v>
                </c:pt>
                <c:pt idx="2">
                  <c:v>46244.0116279069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quot;$ &quot;#,##0.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A7DE6FC-258D-4B07-81A3-D70044F86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5D0DCF0-59F8-4EB9-8BA3-B53E97685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C4C2E98-1D16-4094-B6E0-33B8A9F36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C7A2FB-03C0-4A15-934A-A0536E69B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9D72D09-63C2-4593-8BD4-37EA81F6E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DCFDB7F-F971-4532-BABA-B610980CF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D6F6054-3D42-4CB7-B6A1-DD020AD3C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E5D4611-CF29-4B88-8846-AB229442A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6656</c:v>
                </c:pt>
                <c:pt idx="1">
                  <c:v>2.2102</c:v>
                </c:pt>
              </c:numCache>
            </c:numRef>
          </c:xVal>
          <c:yVal>
            <c:numRef>
              <c:f>Sheet1!$B$2:$B$3</c:f>
              <c:numCache>
                <c:formatCode>General</c:formatCode>
                <c:ptCount val="2"/>
                <c:pt idx="0">
                  <c:v>0.6928</c:v>
                </c:pt>
                <c:pt idx="1">
                  <c:v>0.7136</c:v>
                </c:pt>
              </c:numCache>
            </c:numRef>
          </c:yVal>
          <c:bubbleSize>
            <c:numRef>
              <c:f>Sheet1!$C$2:$C$3</c:f>
              <c:numCache>
                <c:formatCode>General</c:formatCode>
                <c:ptCount val="2"/>
                <c:pt idx="0">
                  <c:v>6385521.421700004</c:v>
                </c:pt>
                <c:pt idx="1">
                  <c:v>28272.36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65224"/>
          <c:min val="1.332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8916875891065"/>
        <c:crossBetween val="midCat"/>
      </c:valAx>
      <c:valAx>
        <c:axId val="1011451359"/>
        <c:scaling>
          <c:orientation val="minMax"/>
          <c:max val="1.21632"/>
          <c:min val="0.3142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800062793401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A70FC7F-BAE5-48B3-A49A-2D8D49C20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DFB8F4-03FA-4B3F-B839-C7E7B1A8A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47D57EA-BAC7-4778-8938-E9DD20974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40F18D5-CDA2-44C2-9AE5-E9CF0F886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E63F475-004D-4E0F-807D-EF2F458F4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D380232-0569-4156-BA6C-ACACFAF90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1EFFD81-3ED2-442A-8D36-E33A7767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22855D5-C717-4E97-98BC-3C877D107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74</c:v>
                </c:pt>
                <c:pt idx="1">
                  <c:v>0.6542</c:v>
                </c:pt>
                <c:pt idx="2">
                  <c:v>2.0796</c:v>
                </c:pt>
              </c:numCache>
            </c:numRef>
          </c:xVal>
          <c:yVal>
            <c:numRef>
              <c:f>Sheet1!$B$2:$B$4</c:f>
              <c:numCache>
                <c:formatCode>General</c:formatCode>
                <c:ptCount val="3"/>
                <c:pt idx="0">
                  <c:v>0.6929</c:v>
                </c:pt>
                <c:pt idx="1">
                  <c:v>0.6296</c:v>
                </c:pt>
                <c:pt idx="2">
                  <c:v>0.4513</c:v>
                </c:pt>
              </c:numCache>
            </c:numRef>
          </c:yVal>
          <c:bubbleSize>
            <c:numRef>
              <c:f>Sheet1!$C$2:$C$4</c:f>
              <c:numCache>
                <c:formatCode>General</c:formatCode>
                <c:ptCount val="3"/>
                <c:pt idx="0">
                  <c:v>6413810.848300001</c:v>
                </c:pt>
                <c:pt idx="1">
                  <c:v>12656356.554299988</c:v>
                </c:pt>
                <c:pt idx="2">
                  <c:v>3733434.3503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9552"/>
          <c:min val="0.523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124516297183"/>
        <c:crossBetween val="midCat"/>
      </c:valAx>
      <c:valAx>
        <c:axId val="1011451359"/>
        <c:scaling>
          <c:orientation val="minMax"/>
          <c:max val="1.1914799999999999"/>
          <c:min val="0.12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725440143617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E7A739F-3D98-4817-812D-9CD8A78F2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14156B-9C7B-420B-B366-DC161955B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3C2719E-A821-47FC-A4CB-BEF16A42C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CF353ED-BA60-4EB9-AF4C-145E142F3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D9F5136-5522-4790-876B-4979FD313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09E358-9492-475C-83E6-643281307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0E7DCC7-C863-42FC-96B0-4A281FA1B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5522D28-B906-48E8-AE59-C744001A0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65</c:v>
                </c:pt>
                <c:pt idx="1">
                  <c:v>0.2956</c:v>
                </c:pt>
                <c:pt idx="2">
                  <c:v>2.1591</c:v>
                </c:pt>
              </c:numCache>
            </c:numRef>
          </c:xVal>
          <c:yVal>
            <c:numRef>
              <c:f>Sheet1!$B$2:$B$4</c:f>
              <c:numCache>
                <c:formatCode>General</c:formatCode>
                <c:ptCount val="3"/>
                <c:pt idx="0">
                  <c:v>0.7201</c:v>
                </c:pt>
                <c:pt idx="1">
                  <c:v>0.3656</c:v>
                </c:pt>
                <c:pt idx="2">
                  <c:v>0.4198</c:v>
                </c:pt>
              </c:numCache>
            </c:numRef>
          </c:yVal>
          <c:bubbleSize>
            <c:numRef>
              <c:f>Sheet1!$C$2:$C$4</c:f>
              <c:numCache>
                <c:formatCode>General</c:formatCode>
                <c:ptCount val="3"/>
                <c:pt idx="0">
                  <c:v>4380267.244600004</c:v>
                </c:pt>
                <c:pt idx="1">
                  <c:v>13456423.158500016</c:v>
                </c:pt>
                <c:pt idx="2">
                  <c:v>1214691.3791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0.23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1869404677"/>
        <c:crossBetween val="midCat"/>
      </c:valAx>
      <c:valAx>
        <c:axId val="1011451359"/>
        <c:scaling>
          <c:orientation val="minMax"/>
          <c:max val="1.2241199999999999"/>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1548018710897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BBC48B6-C5EE-4498-BAC0-2D38678B8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6DEE56F-E2BA-4849-AABF-42CEDC4FA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5462168-09C5-4943-B45E-02B375094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26241BE-818F-49CE-B681-C1502F171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3EC4D7F-4806-4AF3-B8F9-5AE57CE45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1DE0712-1AA7-4030-AF89-9FBBC0004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5C0678B-36F8-4930-B364-CFD370C98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4726584-9358-41D9-9320-4C533769E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83</c:v>
                </c:pt>
                <c:pt idx="1">
                  <c:v>0.6572</c:v>
                </c:pt>
                <c:pt idx="2">
                  <c:v>2.0861</c:v>
                </c:pt>
              </c:numCache>
            </c:numRef>
          </c:xVal>
          <c:yVal>
            <c:numRef>
              <c:f>Sheet1!$B$2:$B$4</c:f>
              <c:numCache>
                <c:formatCode>General</c:formatCode>
                <c:ptCount val="3"/>
                <c:pt idx="0">
                  <c:v>0.693</c:v>
                </c:pt>
                <c:pt idx="1">
                  <c:v>0.6256</c:v>
                </c:pt>
                <c:pt idx="2">
                  <c:v>0.4432</c:v>
                </c:pt>
              </c:numCache>
            </c:numRef>
          </c:yVal>
          <c:bubbleSize>
            <c:numRef>
              <c:f>Sheet1!$C$2:$C$4</c:f>
              <c:numCache>
                <c:formatCode>General</c:formatCode>
                <c:ptCount val="3"/>
                <c:pt idx="0">
                  <c:v>5755991.0456</c:v>
                </c:pt>
                <c:pt idx="1">
                  <c:v>10963215.676699987</c:v>
                </c:pt>
                <c:pt idx="2">
                  <c:v>3375658.9168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0332"/>
          <c:min val="0.5257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654434989201"/>
        <c:crossBetween val="midCat"/>
      </c:valAx>
      <c:valAx>
        <c:axId val="1011451359"/>
        <c:scaling>
          <c:orientation val="minMax"/>
          <c:max val="1.1915999999999998"/>
          <c:min val="0.114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8685577196008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A2F4254-C6B7-4F28-8B6E-A014BEFA2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BF07085-CBC1-4870-B7B1-E298EB84F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AE05852-9C3B-4D7A-885B-663C7A85E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4B20BBD-A5A3-417C-BD83-11CCC3C1C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B71A21F-FE3D-4447-997A-85EC75CD8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50C9AB4-FD77-43A8-8EC4-C2F0C30C0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FD53B96-89B8-41DF-9815-B68CB9D01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D721CEE-8B09-47B6-AF34-EFD58978B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67</c:v>
                </c:pt>
                <c:pt idx="1">
                  <c:v>0.2993</c:v>
                </c:pt>
                <c:pt idx="2">
                  <c:v>2.1592</c:v>
                </c:pt>
              </c:numCache>
            </c:numRef>
          </c:xVal>
          <c:yVal>
            <c:numRef>
              <c:f>Sheet1!$B$2:$B$4</c:f>
              <c:numCache>
                <c:formatCode>General</c:formatCode>
                <c:ptCount val="3"/>
                <c:pt idx="0">
                  <c:v>0.7201</c:v>
                </c:pt>
                <c:pt idx="1">
                  <c:v>0.3686</c:v>
                </c:pt>
                <c:pt idx="2">
                  <c:v>0.4198</c:v>
                </c:pt>
              </c:numCache>
            </c:numRef>
          </c:yVal>
          <c:bubbleSize>
            <c:numRef>
              <c:f>Sheet1!$C$2:$C$4</c:f>
              <c:numCache>
                <c:formatCode>General</c:formatCode>
                <c:ptCount val="3"/>
                <c:pt idx="0">
                  <c:v>3804955.4075</c:v>
                </c:pt>
                <c:pt idx="1">
                  <c:v>11591402.168600013</c:v>
                </c:pt>
                <c:pt idx="2">
                  <c:v>1046552.115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0.2394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727141543853"/>
        <c:crossBetween val="midCat"/>
      </c:valAx>
      <c:valAx>
        <c:axId val="1011451359"/>
        <c:scaling>
          <c:orientation val="minMax"/>
          <c:max val="1.2241199999999999"/>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534018165397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643475-63AC-4F14-ADAE-22878422C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A2861C-8068-4C19-8F0E-6F4727FB5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EBA6EB6-994F-4439-9F02-22A50A845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40D2F6D-F0E8-46E9-B261-E55D11C56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609514-B826-48F2-924D-6889A0845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1816C89-9433-4C93-A59D-6946F3621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6E2B568-AC06-43CE-9FAC-0F84490AD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5DE4F9C-90C3-45AA-9B10-CD6DE53BA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525</c:v>
                </c:pt>
                <c:pt idx="1">
                  <c:v>0.644</c:v>
                </c:pt>
                <c:pt idx="2">
                  <c:v>2.0193</c:v>
                </c:pt>
              </c:numCache>
            </c:numRef>
          </c:xVal>
          <c:yVal>
            <c:numRef>
              <c:f>Sheet1!$B$2:$B$4</c:f>
              <c:numCache>
                <c:formatCode>General</c:formatCode>
                <c:ptCount val="3"/>
                <c:pt idx="0">
                  <c:v>0.6908</c:v>
                </c:pt>
                <c:pt idx="1">
                  <c:v>0.6584</c:v>
                </c:pt>
                <c:pt idx="2">
                  <c:v>0.5308</c:v>
                </c:pt>
              </c:numCache>
            </c:numRef>
          </c:yVal>
          <c:bubbleSize>
            <c:numRef>
              <c:f>Sheet1!$C$2:$C$4</c:f>
              <c:numCache>
                <c:formatCode>General</c:formatCode>
                <c:ptCount val="3"/>
                <c:pt idx="0">
                  <c:v>280587.6849999999</c:v>
                </c:pt>
                <c:pt idx="1">
                  <c:v>786080.1156</c:v>
                </c:pt>
                <c:pt idx="2">
                  <c:v>176237.3407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231599999999998"/>
          <c:min val="0.51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6213466384829"/>
        <c:crossBetween val="midCat"/>
      </c:valAx>
      <c:valAx>
        <c:axId val="1011451359"/>
        <c:scaling>
          <c:orientation val="minMax"/>
          <c:max val="1.1889599999999998"/>
          <c:min val="0.18464000000000005"/>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668060331436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0899A89-A0FD-4294-9572-7052D70F3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5D46F84-0C7A-492A-9BA4-90D659288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AE02D15-A9E0-4ED3-A84C-BF16E24DF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48E69FF-C93D-43B7-AB51-04F52CB3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7D0A5BB-61BE-4BC9-804D-5A48744F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7421C56-78E5-419A-961E-59A6AC74B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4E79768-DCF6-4FC3-8E6F-88904A411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A5A91CD-AAF1-4B34-A523-CD20A5DCE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9</c:v>
                </c:pt>
                <c:pt idx="1">
                  <c:v>0.2675</c:v>
                </c:pt>
                <c:pt idx="2">
                  <c:v>2.1589</c:v>
                </c:pt>
              </c:numCache>
            </c:numRef>
          </c:xVal>
          <c:yVal>
            <c:numRef>
              <c:f>Sheet1!$B$2:$B$4</c:f>
              <c:numCache>
                <c:formatCode>General</c:formatCode>
                <c:ptCount val="3"/>
                <c:pt idx="0">
                  <c:v>0.7206</c:v>
                </c:pt>
                <c:pt idx="1">
                  <c:v>0.3388</c:v>
                </c:pt>
                <c:pt idx="2">
                  <c:v>0.4199</c:v>
                </c:pt>
              </c:numCache>
            </c:numRef>
          </c:yVal>
          <c:bubbleSize>
            <c:numRef>
              <c:f>Sheet1!$C$2:$C$4</c:f>
              <c:numCache>
                <c:formatCode>General</c:formatCode>
                <c:ptCount val="3"/>
                <c:pt idx="0">
                  <c:v>297456.80799999996</c:v>
                </c:pt>
                <c:pt idx="1">
                  <c:v>912079.5516000001</c:v>
                </c:pt>
                <c:pt idx="2">
                  <c:v>89489.1703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0.2140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1324587041797"/>
        <c:crossBetween val="midCat"/>
      </c:valAx>
      <c:valAx>
        <c:axId val="1011451359"/>
        <c:scaling>
          <c:orientation val="minMax"/>
          <c:max val="1.2247199999999998"/>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1109666014151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8DCCE4B-D42E-4BB8-9092-0655D65BF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043F13C-8B4C-4030-B722-E848A7C86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B71B9DA-9D85-4FA1-A2FA-4DA8DF6B6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5078229-A40E-4E24-8DEC-AB266D790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4D8217F-1AA6-41A1-AC51-8A06BB1EA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06E479C-3DB7-4A3A-9109-3F8B3246D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9369F7D-A71B-46F6-8841-84EFCA4AD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06440EB-2589-4E8E-92A6-978EDEB90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656</c:v>
                </c:pt>
                <c:pt idx="1">
                  <c:v>0.6293</c:v>
                </c:pt>
                <c:pt idx="2">
                  <c:v>2.0202</c:v>
                </c:pt>
              </c:numCache>
            </c:numRef>
          </c:xVal>
          <c:yVal>
            <c:numRef>
              <c:f>Sheet1!$B$2:$B$4</c:f>
              <c:numCache>
                <c:formatCode>General</c:formatCode>
                <c:ptCount val="3"/>
                <c:pt idx="0">
                  <c:v>0.6926</c:v>
                </c:pt>
                <c:pt idx="1">
                  <c:v>0.6528</c:v>
                </c:pt>
                <c:pt idx="2">
                  <c:v>0.5259</c:v>
                </c:pt>
              </c:numCache>
            </c:numRef>
          </c:yVal>
          <c:bubbleSize>
            <c:numRef>
              <c:f>Sheet1!$C$2:$C$4</c:f>
              <c:numCache>
                <c:formatCode>General</c:formatCode>
                <c:ptCount val="3"/>
                <c:pt idx="0">
                  <c:v>377232.1177</c:v>
                </c:pt>
                <c:pt idx="1">
                  <c:v>907060.762</c:v>
                </c:pt>
                <c:pt idx="2">
                  <c:v>181538.09279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242399999999997"/>
          <c:min val="0.5034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3264182280335"/>
        <c:crossBetween val="midCat"/>
      </c:valAx>
      <c:valAx>
        <c:axId val="1011451359"/>
        <c:scaling>
          <c:orientation val="minMax"/>
          <c:max val="1.19112"/>
          <c:min val="0.18072000000000005"/>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825032163950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E3B59F9-6191-41C0-B8FC-33A139FB5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8DB1635-0502-4B87-85DA-D87177EAA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BA0917F-64AA-4560-8951-9FFE3D0AD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38456DA-74D0-4DCA-9E1A-57AF8E98F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9866804-3CD1-440F-8814-FAF575F51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9D6809D-F1EC-4FE0-B14B-28161B2A7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B7811E2-552C-4BD3-955F-869411156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E848E3A-C6D5-48CC-BB30-02D5C1597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21</c:v>
                </c:pt>
                <c:pt idx="1">
                  <c:v>0.2814</c:v>
                </c:pt>
                <c:pt idx="2">
                  <c:v>2.1586</c:v>
                </c:pt>
              </c:numCache>
            </c:numRef>
          </c:xVal>
          <c:yVal>
            <c:numRef>
              <c:f>Sheet1!$B$2:$B$4</c:f>
              <c:numCache>
                <c:formatCode>General</c:formatCode>
                <c:ptCount val="3"/>
                <c:pt idx="0">
                  <c:v>0.7195</c:v>
                </c:pt>
                <c:pt idx="1">
                  <c:v>0.3546</c:v>
                </c:pt>
                <c:pt idx="2">
                  <c:v>0.4195</c:v>
                </c:pt>
              </c:numCache>
            </c:numRef>
          </c:yVal>
          <c:bubbleSize>
            <c:numRef>
              <c:f>Sheet1!$C$2:$C$4</c:f>
              <c:numCache>
                <c:formatCode>General</c:formatCode>
                <c:ptCount val="3"/>
                <c:pt idx="0">
                  <c:v>277855.0291</c:v>
                </c:pt>
                <c:pt idx="1">
                  <c:v>952941.4383000003</c:v>
                </c:pt>
                <c:pt idx="2">
                  <c:v>78650.0928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0.2251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72525786786"/>
        <c:crossBetween val="midCat"/>
      </c:valAx>
      <c:valAx>
        <c:axId val="1011451359"/>
        <c:scaling>
          <c:orientation val="minMax"/>
          <c:max val="1.2234"/>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739532775239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C00000"/>
              </a:solidFill>
            </c:spPr>
          </c:dPt>
          <c:dPt>
            <c:idx val="14"/>
            <c:spPr>
              <a:solidFill>
                <a:srgbClr val="006C6D"/>
              </a:solidFill>
            </c:spPr>
          </c:dPt>
          <c:dLbls>
            <c:dLbl>
              <c:idx val="0"/>
              <c:tx>
                <c:rich>
                  <a:bodyPr/>
                  <a:lstStyle/>
                  <a:p>
                    <a:fld id="{E049A666-4A5C-4CD1-A0F4-95E9EB21F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0D00BE3-A6A4-415D-9E35-2EAA360D3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0DB310A-FA9B-4362-BA63-FADF561C2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F43F7A7-EBB2-4B4D-83B5-B31AB1E5F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7FE7FAF-4148-442B-81E2-994A8B107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E4E7B1E-AFE3-492D-818D-B0AD0677A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DEE6AF7-9AB9-48D9-A19F-4F5E1606C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5BEDBA3-4C62-4AE9-A7E1-4EA2F313F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6</c:f>
              <c:numCache>
                <c:formatCode>General</c:formatCode>
                <c:ptCount val="15"/>
                <c:pt idx="0">
                  <c:v>0.8266</c:v>
                </c:pt>
                <c:pt idx="1">
                  <c:v>2.2298</c:v>
                </c:pt>
                <c:pt idx="2">
                  <c:v>0.7994</c:v>
                </c:pt>
                <c:pt idx="3">
                  <c:v>4.7177</c:v>
                </c:pt>
                <c:pt idx="4">
                  <c:v>0.8186</c:v>
                </c:pt>
                <c:pt idx="5">
                  <c:v>1.7027</c:v>
                </c:pt>
                <c:pt idx="6">
                  <c:v>1.0221</c:v>
                </c:pt>
                <c:pt idx="7">
                  <c:v>1.5005</c:v>
                </c:pt>
                <c:pt idx="8">
                  <c:v>0.9365</c:v>
                </c:pt>
                <c:pt idx="9">
                  <c:v>1.1915</c:v>
                </c:pt>
                <c:pt idx="10">
                  <c:v>0.9699</c:v>
                </c:pt>
                <c:pt idx="11">
                  <c:v>0.351</c:v>
                </c:pt>
                <c:pt idx="12">
                  <c:v>1.6533</c:v>
                </c:pt>
                <c:pt idx="13">
                  <c:v>1.0563</c:v>
                </c:pt>
                <c:pt idx="14">
                  <c:v>2.0185</c:v>
                </c:pt>
              </c:numCache>
            </c:numRef>
          </c:xVal>
          <c:yVal>
            <c:numRef>
              <c:f>Sheet1!$B$2:$B$16</c:f>
              <c:numCache>
                <c:formatCode>General</c:formatCode>
                <c:ptCount val="15"/>
                <c:pt idx="0">
                  <c:v>0.3363</c:v>
                </c:pt>
                <c:pt idx="1">
                  <c:v>0.2544</c:v>
                </c:pt>
                <c:pt idx="2">
                  <c:v>0.5237</c:v>
                </c:pt>
                <c:pt idx="3">
                  <c:v>0.372</c:v>
                </c:pt>
                <c:pt idx="4">
                  <c:v>0.4895</c:v>
                </c:pt>
                <c:pt idx="5">
                  <c:v>0.695</c:v>
                </c:pt>
                <c:pt idx="6">
                  <c:v>0.6218</c:v>
                </c:pt>
                <c:pt idx="7">
                  <c:v>0.6039</c:v>
                </c:pt>
                <c:pt idx="8">
                  <c:v>0.6295</c:v>
                </c:pt>
                <c:pt idx="9">
                  <c:v>0.7269</c:v>
                </c:pt>
                <c:pt idx="10">
                  <c:v>0.6515</c:v>
                </c:pt>
                <c:pt idx="11">
                  <c:v>0.7677</c:v>
                </c:pt>
                <c:pt idx="12">
                  <c:v>0.6906</c:v>
                </c:pt>
                <c:pt idx="13">
                  <c:v>0.6351</c:v>
                </c:pt>
                <c:pt idx="14">
                  <c:v>0.5305</c:v>
                </c:pt>
              </c:numCache>
            </c:numRef>
          </c:yVal>
          <c:bubbleSize>
            <c:numRef>
              <c:f>Sheet1!$C$2:$C$16</c:f>
              <c:numCache>
                <c:formatCode>General</c:formatCode>
                <c:ptCount val="15"/>
                <c:pt idx="0">
                  <c:v>2412.9196</c:v>
                </c:pt>
                <c:pt idx="1">
                  <c:v>3101.6832999999997</c:v>
                </c:pt>
                <c:pt idx="2">
                  <c:v>144963.8552</c:v>
                </c:pt>
                <c:pt idx="3">
                  <c:v>1486.0825</c:v>
                </c:pt>
                <c:pt idx="4">
                  <c:v>23760.718799999995</c:v>
                </c:pt>
                <c:pt idx="5">
                  <c:v>127660.91679999999</c:v>
                </c:pt>
                <c:pt idx="6">
                  <c:v>180016.2997</c:v>
                </c:pt>
                <c:pt idx="7">
                  <c:v>3205.0188000000003</c:v>
                </c:pt>
                <c:pt idx="8">
                  <c:v>28611.328400000002</c:v>
                </c:pt>
                <c:pt idx="9">
                  <c:v>3367.1780999999996</c:v>
                </c:pt>
                <c:pt idx="10">
                  <c:v>239980.50240000003</c:v>
                </c:pt>
                <c:pt idx="11">
                  <c:v>263862.60159999994</c:v>
                </c:pt>
                <c:pt idx="12">
                  <c:v>244698.5876</c:v>
                </c:pt>
                <c:pt idx="13">
                  <c:v>23392.570499999998</c:v>
                </c:pt>
                <c:pt idx="14">
                  <c:v>173389.46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2375927574631"/>
        <c:crossBetween val="midCat"/>
      </c:valAx>
      <c:valAx>
        <c:axId val="1011451359"/>
        <c:scaling>
          <c:orientation val="minMax"/>
          <c:max val="1.2812400000000002"/>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563991429040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F3234B9-657D-4E35-B8FE-72AB2BCF8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810A7CB-2004-4469-BF6A-BFFE4B488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37C20FF-3BA6-44F2-9652-1E00EAAA6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3E23D66-429C-476C-8DEE-F55F0215E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CCC807A-714F-46FF-9856-CB7CB7DED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8D801CA-9354-4E17-8FF1-D821AB861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804EA44-C8A6-41DF-B969-C42ABF483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01EED37-3E37-4E13-9100-5039872C3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9444</c:v>
                </c:pt>
                <c:pt idx="1">
                  <c:v>2.1586</c:v>
                </c:pt>
                <c:pt idx="2">
                  <c:v>0.7653</c:v>
                </c:pt>
                <c:pt idx="3">
                  <c:v>0.9755</c:v>
                </c:pt>
                <c:pt idx="4">
                  <c:v>0.4494</c:v>
                </c:pt>
                <c:pt idx="5">
                  <c:v>0.4127</c:v>
                </c:pt>
                <c:pt idx="6">
                  <c:v>0.1407</c:v>
                </c:pt>
                <c:pt idx="7">
                  <c:v>0.1083</c:v>
                </c:pt>
                <c:pt idx="8">
                  <c:v>1.1413</c:v>
                </c:pt>
                <c:pt idx="9">
                  <c:v>1.2749</c:v>
                </c:pt>
              </c:numCache>
            </c:numRef>
          </c:xVal>
          <c:yVal>
            <c:numRef>
              <c:f>Sheet1!$B$2:$B$11</c:f>
              <c:numCache>
                <c:formatCode>General</c:formatCode>
                <c:ptCount val="10"/>
                <c:pt idx="0">
                  <c:v>0.4911</c:v>
                </c:pt>
                <c:pt idx="1">
                  <c:v>0.4195</c:v>
                </c:pt>
                <c:pt idx="2">
                  <c:v>0.4934</c:v>
                </c:pt>
                <c:pt idx="3">
                  <c:v>0.6837</c:v>
                </c:pt>
                <c:pt idx="4">
                  <c:v>0.48</c:v>
                </c:pt>
                <c:pt idx="5">
                  <c:v>0.5166</c:v>
                </c:pt>
                <c:pt idx="6">
                  <c:v>0.0104</c:v>
                </c:pt>
                <c:pt idx="7">
                  <c:v>-0.0032</c:v>
                </c:pt>
                <c:pt idx="8">
                  <c:v>0.7091</c:v>
                </c:pt>
                <c:pt idx="9">
                  <c:v>0.7317</c:v>
                </c:pt>
              </c:numCache>
            </c:numRef>
          </c:yVal>
          <c:bubbleSize>
            <c:numRef>
              <c:f>Sheet1!$C$2:$C$11</c:f>
              <c:numCache>
                <c:formatCode>General</c:formatCode>
                <c:ptCount val="10"/>
                <c:pt idx="0">
                  <c:v>310226.51690000005</c:v>
                </c:pt>
                <c:pt idx="1">
                  <c:v>78650.09289999999</c:v>
                </c:pt>
                <c:pt idx="2">
                  <c:v>129385.61390000003</c:v>
                </c:pt>
                <c:pt idx="3">
                  <c:v>30082.322399999997</c:v>
                </c:pt>
                <c:pt idx="4">
                  <c:v>100468.0599</c:v>
                </c:pt>
                <c:pt idx="5">
                  <c:v>141820.57580000002</c:v>
                </c:pt>
                <c:pt idx="6">
                  <c:v>85078.34020000002</c:v>
                </c:pt>
                <c:pt idx="7">
                  <c:v>185958.43340000004</c:v>
                </c:pt>
                <c:pt idx="8">
                  <c:v>85603.14790000001</c:v>
                </c:pt>
                <c:pt idx="9">
                  <c:v>162101.853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65376878952"/>
        <c:crossBetween val="midCat"/>
      </c:valAx>
      <c:valAx>
        <c:axId val="1011451359"/>
        <c:scaling>
          <c:orientation val="minMax"/>
          <c:max val="1.23804"/>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0340411789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24A110D-CDAB-4F85-8A28-6BBFB38B2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87A4169-DEB0-4AA9-8D7C-3801A0EDC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DB1109B-AA70-4781-BD2E-3A4EAE496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13FE74F-DA24-483B-B370-1F2A9147D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70E7E2C-86C6-4487-BD3A-EA4EEF6D7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220E40C-2D47-4A91-B1DE-00F2C0FF1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1CFF54D-FD9A-4E05-9BE0-E14BDC0BC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12CBF1C-6130-41D8-B9E7-5CF05E3B0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833</c:v>
                </c:pt>
                <c:pt idx="1">
                  <c:v>3.2023</c:v>
                </c:pt>
              </c:numCache>
            </c:numRef>
          </c:xVal>
          <c:yVal>
            <c:numRef>
              <c:f>Sheet1!$B$2:$B$3</c:f>
              <c:numCache>
                <c:formatCode>General</c:formatCode>
                <c:ptCount val="2"/>
                <c:pt idx="0">
                  <c:v>0.6476</c:v>
                </c:pt>
                <c:pt idx="1">
                  <c:v>0.4911</c:v>
                </c:pt>
              </c:numCache>
            </c:numRef>
          </c:yVal>
          <c:bubbleSize>
            <c:numRef>
              <c:f>Sheet1!$C$2:$C$3</c:f>
              <c:numCache>
                <c:formatCode>General</c:formatCode>
                <c:ptCount val="2"/>
                <c:pt idx="0">
                  <c:v>1463493.4481999993</c:v>
                </c:pt>
                <c:pt idx="1">
                  <c:v>2331.2424999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84276"/>
          <c:min val="0.6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3511029432341"/>
        <c:crossBetween val="midCat"/>
      </c:valAx>
      <c:valAx>
        <c:axId val="1011451359"/>
        <c:scaling>
          <c:orientation val="minMax"/>
          <c:max val="1.13712"/>
          <c:min val="0.1528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3676812649581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C00000"/>
              </a:solidFill>
            </c:spPr>
          </c:dPt>
          <c:dPt>
            <c:idx val="14"/>
            <c:spPr>
              <a:solidFill>
                <a:srgbClr val="E6E5E5"/>
              </a:solidFill>
            </c:spPr>
          </c:dPt>
          <c:dPt>
            <c:idx val="15"/>
            <c:spPr>
              <a:solidFill>
                <a:srgbClr val="C00000"/>
              </a:solidFill>
            </c:spPr>
          </c:dPt>
          <c:dPt>
            <c:idx val="16"/>
            <c:spPr>
              <a:solidFill>
                <a:srgbClr val="006C6D"/>
              </a:solidFill>
            </c:spPr>
          </c:dPt>
          <c:dPt>
            <c:idx val="17"/>
            <c:spPr>
              <a:solidFill>
                <a:srgbClr val="C00000"/>
              </a:solidFill>
            </c:spPr>
          </c:dPt>
          <c:dPt>
            <c:idx val="18"/>
            <c:spPr>
              <a:solidFill>
                <a:srgbClr val="006C6D"/>
              </a:solidFill>
            </c:spPr>
          </c:dPt>
          <c:dLbls>
            <c:dLbl>
              <c:idx val="0"/>
              <c:tx>
                <c:rich>
                  <a:bodyPr/>
                  <a:lstStyle/>
                  <a:p>
                    <a:fld id="{5F0C4217-BE0D-4CCA-B752-93BE81E22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C80CA85-8CE3-44D9-96DB-0291C16C7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2715E8F-85B5-4DDA-A65D-844EA1780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10C7527-773D-4915-89B8-92DFD1053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ACAA2D3-7A47-492B-ACEE-8BE32D86E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E5606C6-777B-4768-AF46-A7E30F04B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B0C885B-2F58-4B16-A654-3E1E99123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473F40D-1510-4A37-9372-64BA8594A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0</c:f>
              <c:numCache>
                <c:formatCode>General</c:formatCode>
                <c:ptCount val="19"/>
                <c:pt idx="0">
                  <c:v>2.9994</c:v>
                </c:pt>
                <c:pt idx="1">
                  <c:v>0.8286</c:v>
                </c:pt>
                <c:pt idx="2">
                  <c:v>2.233</c:v>
                </c:pt>
                <c:pt idx="3">
                  <c:v>2.5526</c:v>
                </c:pt>
                <c:pt idx="4">
                  <c:v>0.7997</c:v>
                </c:pt>
                <c:pt idx="5">
                  <c:v>4.7265</c:v>
                </c:pt>
                <c:pt idx="6">
                  <c:v>0.8188</c:v>
                </c:pt>
                <c:pt idx="7">
                  <c:v>1.702</c:v>
                </c:pt>
                <c:pt idx="8">
                  <c:v>1.0221</c:v>
                </c:pt>
                <c:pt idx="9">
                  <c:v>1.508</c:v>
                </c:pt>
                <c:pt idx="10">
                  <c:v>2.2174</c:v>
                </c:pt>
                <c:pt idx="11">
                  <c:v>0.9367</c:v>
                </c:pt>
                <c:pt idx="12">
                  <c:v>1.1998</c:v>
                </c:pt>
                <c:pt idx="13">
                  <c:v>0.9698</c:v>
                </c:pt>
                <c:pt idx="14">
                  <c:v>0.351</c:v>
                </c:pt>
                <c:pt idx="15">
                  <c:v>2.5738</c:v>
                </c:pt>
                <c:pt idx="16">
                  <c:v>1.6511</c:v>
                </c:pt>
                <c:pt idx="17">
                  <c:v>1.0566</c:v>
                </c:pt>
                <c:pt idx="18">
                  <c:v>2.0187</c:v>
                </c:pt>
              </c:numCache>
            </c:numRef>
          </c:xVal>
          <c:yVal>
            <c:numRef>
              <c:f>Sheet1!$B$2:$B$20</c:f>
              <c:numCache>
                <c:formatCode>General</c:formatCode>
                <c:ptCount val="19"/>
                <c:pt idx="0">
                  <c:v>0.6078</c:v>
                </c:pt>
                <c:pt idx="1">
                  <c:v>0.3363</c:v>
                </c:pt>
                <c:pt idx="2">
                  <c:v>0.2544</c:v>
                </c:pt>
                <c:pt idx="3">
                  <c:v>0.797</c:v>
                </c:pt>
                <c:pt idx="4">
                  <c:v>0.5237</c:v>
                </c:pt>
                <c:pt idx="5">
                  <c:v>0.3715</c:v>
                </c:pt>
                <c:pt idx="6">
                  <c:v>0.4895</c:v>
                </c:pt>
                <c:pt idx="7">
                  <c:v>0.6948</c:v>
                </c:pt>
                <c:pt idx="8">
                  <c:v>0.6217</c:v>
                </c:pt>
                <c:pt idx="9">
                  <c:v>0.6037</c:v>
                </c:pt>
                <c:pt idx="10">
                  <c:v>0.7142</c:v>
                </c:pt>
                <c:pt idx="11">
                  <c:v>0.6295</c:v>
                </c:pt>
                <c:pt idx="12">
                  <c:v>0.7271</c:v>
                </c:pt>
                <c:pt idx="13">
                  <c:v>0.6514</c:v>
                </c:pt>
                <c:pt idx="14">
                  <c:v>0.7677</c:v>
                </c:pt>
                <c:pt idx="15">
                  <c:v>0.7947</c:v>
                </c:pt>
                <c:pt idx="16">
                  <c:v>0.6903</c:v>
                </c:pt>
                <c:pt idx="17">
                  <c:v>0.6351</c:v>
                </c:pt>
                <c:pt idx="18">
                  <c:v>0.5305</c:v>
                </c:pt>
              </c:numCache>
            </c:numRef>
          </c:yVal>
          <c:bubbleSize>
            <c:numRef>
              <c:f>Sheet1!$C$2:$C$20</c:f>
              <c:numCache>
                <c:formatCode>General</c:formatCode>
                <c:ptCount val="19"/>
                <c:pt idx="0">
                  <c:v>2069.6072</c:v>
                </c:pt>
                <c:pt idx="1">
                  <c:v>836275.5084</c:v>
                </c:pt>
                <c:pt idx="2">
                  <c:v>1055523.5942</c:v>
                </c:pt>
                <c:pt idx="3">
                  <c:v>1733.2224</c:v>
                </c:pt>
                <c:pt idx="4">
                  <c:v>1682330.8057000001</c:v>
                </c:pt>
                <c:pt idx="5">
                  <c:v>55007.155300000006</c:v>
                </c:pt>
                <c:pt idx="6">
                  <c:v>265583.5182</c:v>
                </c:pt>
                <c:pt idx="7">
                  <c:v>2525616.0185</c:v>
                </c:pt>
                <c:pt idx="8">
                  <c:v>2189858.2104</c:v>
                </c:pt>
                <c:pt idx="9">
                  <c:v>72621.1476</c:v>
                </c:pt>
                <c:pt idx="10">
                  <c:v>27404.9312</c:v>
                </c:pt>
                <c:pt idx="11">
                  <c:v>336996.18600000005</c:v>
                </c:pt>
                <c:pt idx="12">
                  <c:v>69360.26759999999</c:v>
                </c:pt>
                <c:pt idx="13">
                  <c:v>2631441.1776000005</c:v>
                </c:pt>
                <c:pt idx="14">
                  <c:v>2717686.2454</c:v>
                </c:pt>
                <c:pt idx="15">
                  <c:v>6169.4464</c:v>
                </c:pt>
                <c:pt idx="16">
                  <c:v>3125406.0482</c:v>
                </c:pt>
                <c:pt idx="17">
                  <c:v>302112.82920000004</c:v>
                </c:pt>
                <c:pt idx="18">
                  <c:v>2189444.76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710826169993"/>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64669087461575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80F11EA-61DB-4570-B389-DA2A1BF84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F7B0B2A-7A4A-4C08-8703-46FF701A1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CAD9744-403A-4E62-B854-2C79614F0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71E434A-0DA0-48AE-99ED-FAFFC4857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6ABB752-7516-4C3C-8F37-AF6ED4A14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A1004F8-5BCB-47EF-9B29-A24A029CA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322ECF6-1150-4F14-9307-0D58E9E35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BFC6764-016B-442C-8BBE-6CFE88AB8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9444</c:v>
                </c:pt>
                <c:pt idx="1">
                  <c:v>2.1592</c:v>
                </c:pt>
                <c:pt idx="2">
                  <c:v>0.7653</c:v>
                </c:pt>
                <c:pt idx="3">
                  <c:v>0.9762</c:v>
                </c:pt>
                <c:pt idx="4">
                  <c:v>0.4494</c:v>
                </c:pt>
                <c:pt idx="5">
                  <c:v>0.4128</c:v>
                </c:pt>
                <c:pt idx="6">
                  <c:v>0.1407</c:v>
                </c:pt>
                <c:pt idx="7">
                  <c:v>0.1083</c:v>
                </c:pt>
                <c:pt idx="8">
                  <c:v>1.1418</c:v>
                </c:pt>
                <c:pt idx="9">
                  <c:v>1.275</c:v>
                </c:pt>
              </c:numCache>
            </c:numRef>
          </c:xVal>
          <c:yVal>
            <c:numRef>
              <c:f>Sheet1!$B$2:$B$11</c:f>
              <c:numCache>
                <c:formatCode>General</c:formatCode>
                <c:ptCount val="10"/>
                <c:pt idx="0">
                  <c:v>0.4911</c:v>
                </c:pt>
                <c:pt idx="1">
                  <c:v>0.4198</c:v>
                </c:pt>
                <c:pt idx="2">
                  <c:v>0.4934</c:v>
                </c:pt>
                <c:pt idx="3">
                  <c:v>0.6837</c:v>
                </c:pt>
                <c:pt idx="4">
                  <c:v>0.4798</c:v>
                </c:pt>
                <c:pt idx="5">
                  <c:v>0.5166</c:v>
                </c:pt>
                <c:pt idx="6">
                  <c:v>0.0104</c:v>
                </c:pt>
                <c:pt idx="7">
                  <c:v>-0.0026</c:v>
                </c:pt>
                <c:pt idx="8">
                  <c:v>0.7091</c:v>
                </c:pt>
                <c:pt idx="9">
                  <c:v>0.7317</c:v>
                </c:pt>
              </c:numCache>
            </c:numRef>
          </c:yVal>
          <c:bubbleSize>
            <c:numRef>
              <c:f>Sheet1!$C$2:$C$11</c:f>
              <c:numCache>
                <c:formatCode>General</c:formatCode>
                <c:ptCount val="10"/>
                <c:pt idx="0">
                  <c:v>3936071.3594</c:v>
                </c:pt>
                <c:pt idx="1">
                  <c:v>1046552.1158</c:v>
                </c:pt>
                <c:pt idx="2">
                  <c:v>1549808.4677999998</c:v>
                </c:pt>
                <c:pt idx="3">
                  <c:v>365615.01729999995</c:v>
                </c:pt>
                <c:pt idx="4">
                  <c:v>1407622.4700999998</c:v>
                </c:pt>
                <c:pt idx="5">
                  <c:v>1730514.1759000001</c:v>
                </c:pt>
                <c:pt idx="6">
                  <c:v>1029392.1368000001</c:v>
                </c:pt>
                <c:pt idx="7">
                  <c:v>1937934.2558000002</c:v>
                </c:pt>
                <c:pt idx="8">
                  <c:v>1171834.1069</c:v>
                </c:pt>
                <c:pt idx="9">
                  <c:v>2266539.603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60185684373"/>
        <c:crossBetween val="midCat"/>
      </c:valAx>
      <c:valAx>
        <c:axId val="1011451359"/>
        <c:scaling>
          <c:orientation val="minMax"/>
          <c:max val="1.23804"/>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799730976610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C00000"/>
              </a:solidFill>
            </c:spPr>
          </c:dPt>
          <c:dPt>
            <c:idx val="14"/>
            <c:spPr>
              <a:solidFill>
                <a:srgbClr val="E6E5E5"/>
              </a:solidFill>
            </c:spPr>
          </c:dPt>
          <c:dPt>
            <c:idx val="15"/>
            <c:spPr>
              <a:solidFill>
                <a:srgbClr val="C00000"/>
              </a:solidFill>
            </c:spPr>
          </c:dPt>
          <c:dPt>
            <c:idx val="16"/>
            <c:spPr>
              <a:solidFill>
                <a:srgbClr val="006C6D"/>
              </a:solidFill>
            </c:spPr>
          </c:dPt>
          <c:dPt>
            <c:idx val="17"/>
            <c:spPr>
              <a:solidFill>
                <a:srgbClr val="C00000"/>
              </a:solidFill>
            </c:spPr>
          </c:dPt>
          <c:dPt>
            <c:idx val="18"/>
            <c:spPr>
              <a:solidFill>
                <a:srgbClr val="006C6D"/>
              </a:solidFill>
            </c:spPr>
          </c:dPt>
          <c:dLbls>
            <c:dLbl>
              <c:idx val="0"/>
              <c:tx>
                <c:rich>
                  <a:bodyPr/>
                  <a:lstStyle/>
                  <a:p>
                    <a:fld id="{42B6997E-3ECA-44D5-BC2A-08B59F875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5417F37-4F4F-474D-83A6-343E27848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85CA501-23D5-476D-A2C9-3789610FD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0A5A3B5-A81C-423A-ACA0-6D8BCBE6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99C1550-FF64-47C5-A4F1-CE2C3F7C3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70CB510-D400-4D33-AC72-6D27F7C02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786E79A-A4E5-472E-BD77-D53BBBFA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02129A3-60ED-411A-A5FA-D8DB5319D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0</c:f>
              <c:numCache>
                <c:formatCode>General</c:formatCode>
                <c:ptCount val="19"/>
                <c:pt idx="0">
                  <c:v>2.9938</c:v>
                </c:pt>
                <c:pt idx="1">
                  <c:v>0.8286</c:v>
                </c:pt>
                <c:pt idx="2">
                  <c:v>2.233</c:v>
                </c:pt>
                <c:pt idx="3">
                  <c:v>2.5531</c:v>
                </c:pt>
                <c:pt idx="4">
                  <c:v>0.7997</c:v>
                </c:pt>
                <c:pt idx="5">
                  <c:v>4.7263</c:v>
                </c:pt>
                <c:pt idx="6">
                  <c:v>0.8188</c:v>
                </c:pt>
                <c:pt idx="7">
                  <c:v>1.702</c:v>
                </c:pt>
                <c:pt idx="8">
                  <c:v>1.0221</c:v>
                </c:pt>
                <c:pt idx="9">
                  <c:v>1.5077</c:v>
                </c:pt>
                <c:pt idx="10">
                  <c:v>2.2102</c:v>
                </c:pt>
                <c:pt idx="11">
                  <c:v>0.9366</c:v>
                </c:pt>
                <c:pt idx="12">
                  <c:v>1.1994</c:v>
                </c:pt>
                <c:pt idx="13">
                  <c:v>0.9699</c:v>
                </c:pt>
                <c:pt idx="14">
                  <c:v>0.351</c:v>
                </c:pt>
                <c:pt idx="15">
                  <c:v>2.5646</c:v>
                </c:pt>
                <c:pt idx="16">
                  <c:v>1.6512</c:v>
                </c:pt>
                <c:pt idx="17">
                  <c:v>1.0565</c:v>
                </c:pt>
                <c:pt idx="18">
                  <c:v>2.0186</c:v>
                </c:pt>
              </c:numCache>
            </c:numRef>
          </c:xVal>
          <c:yVal>
            <c:numRef>
              <c:f>Sheet1!$B$2:$B$20</c:f>
              <c:numCache>
                <c:formatCode>General</c:formatCode>
                <c:ptCount val="19"/>
                <c:pt idx="0">
                  <c:v>0.6078</c:v>
                </c:pt>
                <c:pt idx="1">
                  <c:v>0.3363</c:v>
                </c:pt>
                <c:pt idx="2">
                  <c:v>0.2544</c:v>
                </c:pt>
                <c:pt idx="3">
                  <c:v>0.797</c:v>
                </c:pt>
                <c:pt idx="4">
                  <c:v>0.5238</c:v>
                </c:pt>
                <c:pt idx="5">
                  <c:v>0.3715</c:v>
                </c:pt>
                <c:pt idx="6">
                  <c:v>0.4895</c:v>
                </c:pt>
                <c:pt idx="7">
                  <c:v>0.6948</c:v>
                </c:pt>
                <c:pt idx="8">
                  <c:v>0.6218</c:v>
                </c:pt>
                <c:pt idx="9">
                  <c:v>0.6037</c:v>
                </c:pt>
                <c:pt idx="10">
                  <c:v>0.7136</c:v>
                </c:pt>
                <c:pt idx="11">
                  <c:v>0.6295</c:v>
                </c:pt>
                <c:pt idx="12">
                  <c:v>0.7271</c:v>
                </c:pt>
                <c:pt idx="13">
                  <c:v>0.6515</c:v>
                </c:pt>
                <c:pt idx="14">
                  <c:v>0.7677</c:v>
                </c:pt>
                <c:pt idx="15">
                  <c:v>0.7947</c:v>
                </c:pt>
                <c:pt idx="16">
                  <c:v>0.6903</c:v>
                </c:pt>
                <c:pt idx="17">
                  <c:v>0.6351</c:v>
                </c:pt>
                <c:pt idx="18">
                  <c:v>0.5305</c:v>
                </c:pt>
              </c:numCache>
            </c:numRef>
          </c:yVal>
          <c:bubbleSize>
            <c:numRef>
              <c:f>Sheet1!$C$2:$C$20</c:f>
              <c:numCache>
                <c:formatCode>General</c:formatCode>
                <c:ptCount val="19"/>
                <c:pt idx="0">
                  <c:v>2502.780799999999</c:v>
                </c:pt>
                <c:pt idx="1">
                  <c:v>838701.6858000001</c:v>
                </c:pt>
                <c:pt idx="2">
                  <c:v>1058631.9766</c:v>
                </c:pt>
                <c:pt idx="3">
                  <c:v>1764.1728</c:v>
                </c:pt>
                <c:pt idx="4">
                  <c:v>1920827.2086</c:v>
                </c:pt>
                <c:pt idx="5">
                  <c:v>56493.2378</c:v>
                </c:pt>
                <c:pt idx="6">
                  <c:v>301018.2378</c:v>
                </c:pt>
                <c:pt idx="7">
                  <c:v>2654418.0468999995</c:v>
                </c:pt>
                <c:pt idx="8">
                  <c:v>2551270.2802000004</c:v>
                </c:pt>
                <c:pt idx="9">
                  <c:v>75862.37519999998</c:v>
                </c:pt>
                <c:pt idx="10">
                  <c:v>28272.3697</c:v>
                </c:pt>
                <c:pt idx="11">
                  <c:v>390839.139</c:v>
                </c:pt>
                <c:pt idx="12">
                  <c:v>72733.44779999998</c:v>
                </c:pt>
                <c:pt idx="13">
                  <c:v>3101731.2096000006</c:v>
                </c:pt>
                <c:pt idx="14">
                  <c:v>3200726.89</c:v>
                </c:pt>
                <c:pt idx="15">
                  <c:v>8139.9552</c:v>
                </c:pt>
                <c:pt idx="16">
                  <c:v>3648181.7446000013</c:v>
                </c:pt>
                <c:pt idx="17">
                  <c:v>350237.70730000007</c:v>
                </c:pt>
                <c:pt idx="18">
                  <c:v>2538781.9903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82310142934516"/>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201916503722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9D9E8A9-7411-4AEF-B79E-F3A1F2673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C185846-1AE7-4EA9-84D2-A78D3D2A3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2F0AB18-C0C8-461B-A3EA-E6598D705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3B8AE4A-55B4-4101-93BB-88CF9B717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A1D3C5-A307-4720-9DDF-5D93FA130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35EF7DF-7092-43FC-9C0F-107E7F755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89C30A7-EA8F-4ABD-AE36-F9FA755DE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07DC605-5A3B-4791-A361-80A3F5B41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916</c:v>
                </c:pt>
                <c:pt idx="1">
                  <c:v>0.9444</c:v>
                </c:pt>
                <c:pt idx="2">
                  <c:v>2.1591</c:v>
                </c:pt>
                <c:pt idx="3">
                  <c:v>0.7653</c:v>
                </c:pt>
                <c:pt idx="4">
                  <c:v>0.9761</c:v>
                </c:pt>
                <c:pt idx="5">
                  <c:v>0.4494</c:v>
                </c:pt>
                <c:pt idx="6">
                  <c:v>0.4128</c:v>
                </c:pt>
                <c:pt idx="7">
                  <c:v>0.1407</c:v>
                </c:pt>
                <c:pt idx="8">
                  <c:v>0.1083</c:v>
                </c:pt>
                <c:pt idx="9">
                  <c:v>1.1417</c:v>
                </c:pt>
                <c:pt idx="10">
                  <c:v>1.275</c:v>
                </c:pt>
              </c:numCache>
            </c:numRef>
          </c:xVal>
          <c:yVal>
            <c:numRef>
              <c:f>Sheet1!$B$2:$B$12</c:f>
              <c:numCache>
                <c:formatCode>General</c:formatCode>
                <c:ptCount val="11"/>
                <c:pt idx="0">
                  <c:v>0.7386</c:v>
                </c:pt>
                <c:pt idx="1">
                  <c:v>0.4911</c:v>
                </c:pt>
                <c:pt idx="2">
                  <c:v>0.4198</c:v>
                </c:pt>
                <c:pt idx="3">
                  <c:v>0.4934</c:v>
                </c:pt>
                <c:pt idx="4">
                  <c:v>0.6837</c:v>
                </c:pt>
                <c:pt idx="5">
                  <c:v>0.4797</c:v>
                </c:pt>
                <c:pt idx="6">
                  <c:v>0.5165</c:v>
                </c:pt>
                <c:pt idx="7">
                  <c:v>0.0105</c:v>
                </c:pt>
                <c:pt idx="8">
                  <c:v>-0.0026</c:v>
                </c:pt>
                <c:pt idx="9">
                  <c:v>0.7091</c:v>
                </c:pt>
                <c:pt idx="10">
                  <c:v>0.7317</c:v>
                </c:pt>
              </c:numCache>
            </c:numRef>
          </c:yVal>
          <c:bubbleSize>
            <c:numRef>
              <c:f>Sheet1!$C$2:$C$12</c:f>
              <c:numCache>
                <c:formatCode>General</c:formatCode>
                <c:ptCount val="11"/>
                <c:pt idx="0">
                  <c:v>1094.5674000000001</c:v>
                </c:pt>
                <c:pt idx="1">
                  <c:v>4518773.504</c:v>
                </c:pt>
                <c:pt idx="2">
                  <c:v>1214691.3791000003</c:v>
                </c:pt>
                <c:pt idx="3">
                  <c:v>1798622.3696</c:v>
                </c:pt>
                <c:pt idx="4">
                  <c:v>423999.0885</c:v>
                </c:pt>
                <c:pt idx="5">
                  <c:v>1614221.3449</c:v>
                </c:pt>
                <c:pt idx="6">
                  <c:v>1997336.7136000004</c:v>
                </c:pt>
                <c:pt idx="7">
                  <c:v>1228819.4014</c:v>
                </c:pt>
                <c:pt idx="8">
                  <c:v>2298580.1270000003</c:v>
                </c:pt>
                <c:pt idx="9">
                  <c:v>1343734.6551</c:v>
                </c:pt>
                <c:pt idx="10">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99809098249"/>
        <c:crossBetween val="midCat"/>
      </c:valAx>
      <c:valAx>
        <c:axId val="1011451359"/>
        <c:scaling>
          <c:orientation val="minMax"/>
          <c:max val="1.2463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448526485009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B062F9C-FBCB-4364-BA41-7DBC7CE9C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39FA40-E645-451F-B33A-B3E530445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5FA3627-BC00-45B8-9425-0F4753C09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8882D65-C156-4435-B939-C302BEE1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F12ED97-03A5-46E2-9AAA-8472F3E90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06FB09D-A05E-4958-A2FD-A34FBE20E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406DF70-BB46-4C9C-BEB5-8CB066C54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3BF5B2B-EBB9-4DA7-A678-40EB30D27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8004</c:v>
                </c:pt>
                <c:pt idx="1">
                  <c:v>0.8183</c:v>
                </c:pt>
                <c:pt idx="2">
                  <c:v>1.6443</c:v>
                </c:pt>
                <c:pt idx="3">
                  <c:v>1.0227</c:v>
                </c:pt>
                <c:pt idx="4">
                  <c:v>0.9362</c:v>
                </c:pt>
                <c:pt idx="5">
                  <c:v>0.9706</c:v>
                </c:pt>
                <c:pt idx="6">
                  <c:v>0.3509</c:v>
                </c:pt>
                <c:pt idx="7">
                  <c:v>2.5353</c:v>
                </c:pt>
                <c:pt idx="8">
                  <c:v>1.6498</c:v>
                </c:pt>
                <c:pt idx="9">
                  <c:v>1.0563</c:v>
                </c:pt>
                <c:pt idx="10">
                  <c:v>2.0186</c:v>
                </c:pt>
              </c:numCache>
            </c:numRef>
          </c:xVal>
          <c:yVal>
            <c:numRef>
              <c:f>Sheet1!$B$2:$B$12</c:f>
              <c:numCache>
                <c:formatCode>General</c:formatCode>
                <c:ptCount val="11"/>
                <c:pt idx="0">
                  <c:v>0.5245</c:v>
                </c:pt>
                <c:pt idx="1">
                  <c:v>0.4895</c:v>
                </c:pt>
                <c:pt idx="2">
                  <c:v>0.6969</c:v>
                </c:pt>
                <c:pt idx="3">
                  <c:v>0.622</c:v>
                </c:pt>
                <c:pt idx="4">
                  <c:v>0.6295</c:v>
                </c:pt>
                <c:pt idx="5">
                  <c:v>0.6518</c:v>
                </c:pt>
                <c:pt idx="6">
                  <c:v>0.7677</c:v>
                </c:pt>
                <c:pt idx="7">
                  <c:v>0.7947</c:v>
                </c:pt>
                <c:pt idx="8">
                  <c:v>0.6902</c:v>
                </c:pt>
                <c:pt idx="9">
                  <c:v>0.6351</c:v>
                </c:pt>
                <c:pt idx="10">
                  <c:v>0.5307</c:v>
                </c:pt>
              </c:numCache>
            </c:numRef>
          </c:yVal>
          <c:bubbleSize>
            <c:numRef>
              <c:f>Sheet1!$C$2:$C$12</c:f>
              <c:numCache>
                <c:formatCode>General</c:formatCode>
                <c:ptCount val="11"/>
                <c:pt idx="0">
                  <c:v>93532.5477</c:v>
                </c:pt>
                <c:pt idx="1">
                  <c:v>11674.0008</c:v>
                </c:pt>
                <c:pt idx="2">
                  <c:v>1141.1115999999997</c:v>
                </c:pt>
                <c:pt idx="3">
                  <c:v>181395.7701</c:v>
                </c:pt>
                <c:pt idx="4">
                  <c:v>25231.624600000003</c:v>
                </c:pt>
                <c:pt idx="5">
                  <c:v>230309.5296</c:v>
                </c:pt>
                <c:pt idx="6">
                  <c:v>219178.043</c:v>
                </c:pt>
                <c:pt idx="7">
                  <c:v>1341.184</c:v>
                </c:pt>
                <c:pt idx="8">
                  <c:v>278077.10880000005</c:v>
                </c:pt>
                <c:pt idx="9">
                  <c:v>24732.3076</c:v>
                </c:pt>
                <c:pt idx="10">
                  <c:v>175947.76450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4236"/>
          <c:min val="0.280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476425130105383"/>
        <c:crossBetween val="midCat"/>
      </c:valAx>
      <c:valAx>
        <c:axId val="1011451359"/>
        <c:scaling>
          <c:orientation val="minMax"/>
          <c:max val="1.31364"/>
          <c:min val="0.151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5836626317604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126559C-DAAF-4F5B-B44E-52D722666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97ABE91-CE9D-4437-8459-8094E1EBE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80714A9-3323-4B70-8017-031526208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44ED9DC-AE8C-4191-B596-C142BAE36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4CD7AC7-4435-47AF-B0B0-0799CC27B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AF750BE-E20B-45CC-B863-465951B2F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742D629-BB80-4E72-B303-6B3DE9DCB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9BB56D1-1E9E-4448-A165-27A551E5B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9444</c:v>
                </c:pt>
                <c:pt idx="1">
                  <c:v>2.1589</c:v>
                </c:pt>
                <c:pt idx="2">
                  <c:v>0.7653</c:v>
                </c:pt>
                <c:pt idx="3">
                  <c:v>0.9758</c:v>
                </c:pt>
                <c:pt idx="4">
                  <c:v>0.4494</c:v>
                </c:pt>
                <c:pt idx="5">
                  <c:v>0.4127</c:v>
                </c:pt>
                <c:pt idx="6">
                  <c:v>0.1407</c:v>
                </c:pt>
                <c:pt idx="7">
                  <c:v>0.1083</c:v>
                </c:pt>
                <c:pt idx="8">
                  <c:v>1.1412</c:v>
                </c:pt>
                <c:pt idx="9">
                  <c:v>1.2748</c:v>
                </c:pt>
              </c:numCache>
            </c:numRef>
          </c:xVal>
          <c:yVal>
            <c:numRef>
              <c:f>Sheet1!$B$2:$B$11</c:f>
              <c:numCache>
                <c:formatCode>General</c:formatCode>
                <c:ptCount val="10"/>
                <c:pt idx="0">
                  <c:v>0.4909</c:v>
                </c:pt>
                <c:pt idx="1">
                  <c:v>0.4199</c:v>
                </c:pt>
                <c:pt idx="2">
                  <c:v>0.4936</c:v>
                </c:pt>
                <c:pt idx="3">
                  <c:v>0.6837</c:v>
                </c:pt>
                <c:pt idx="4">
                  <c:v>0.4789</c:v>
                </c:pt>
                <c:pt idx="5">
                  <c:v>0.5158</c:v>
                </c:pt>
                <c:pt idx="6">
                  <c:v>0.012</c:v>
                </c:pt>
                <c:pt idx="7">
                  <c:v>-0.0022</c:v>
                </c:pt>
                <c:pt idx="8">
                  <c:v>0.7091</c:v>
                </c:pt>
                <c:pt idx="9">
                  <c:v>0.7318</c:v>
                </c:pt>
              </c:numCache>
            </c:numRef>
          </c:yVal>
          <c:bubbleSize>
            <c:numRef>
              <c:f>Sheet1!$C$2:$C$11</c:f>
              <c:numCache>
                <c:formatCode>General</c:formatCode>
                <c:ptCount val="10"/>
                <c:pt idx="0">
                  <c:v>272475.62769999995</c:v>
                </c:pt>
                <c:pt idx="1">
                  <c:v>89489.17039999997</c:v>
                </c:pt>
                <c:pt idx="2">
                  <c:v>119428.28789999997</c:v>
                </c:pt>
                <c:pt idx="3">
                  <c:v>28301.748799999998</c:v>
                </c:pt>
                <c:pt idx="4">
                  <c:v>106130.8149</c:v>
                </c:pt>
                <c:pt idx="5">
                  <c:v>125001.9619</c:v>
                </c:pt>
                <c:pt idx="6">
                  <c:v>114348.92439999997</c:v>
                </c:pt>
                <c:pt idx="7">
                  <c:v>174687.4378</c:v>
                </c:pt>
                <c:pt idx="8">
                  <c:v>86297.40030000001</c:v>
                </c:pt>
                <c:pt idx="9">
                  <c:v>182797.47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7989829935803"/>
        <c:crossBetween val="midCat"/>
      </c:valAx>
      <c:valAx>
        <c:axId val="1011451359"/>
        <c:scaling>
          <c:orientation val="minMax"/>
          <c:max val="1.2381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97056292307247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FA2BC28-3FD3-487C-8A87-AAAC97FF4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27A6FA9-CB58-4398-8F63-035D408CD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B2390BD-5F4A-4F8C-857F-A293E2FC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B899649-8D67-468E-9D2C-1E4C79545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1370478-3942-4413-B029-36D5AF3EB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E949C6D-48C7-4C88-9258-DD1D64F76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574F315-D3E8-4578-942B-13802012F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051BF02-430B-4AF1-8BE3-9B69F7807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2.9994</c:v>
                </c:pt>
                <c:pt idx="1">
                  <c:v>2.233</c:v>
                </c:pt>
                <c:pt idx="2">
                  <c:v>2.5526</c:v>
                </c:pt>
                <c:pt idx="3">
                  <c:v>4.7265</c:v>
                </c:pt>
                <c:pt idx="4">
                  <c:v>1.702</c:v>
                </c:pt>
                <c:pt idx="5">
                  <c:v>1.508</c:v>
                </c:pt>
                <c:pt idx="6">
                  <c:v>2.2174</c:v>
                </c:pt>
                <c:pt idx="7">
                  <c:v>1.1998</c:v>
                </c:pt>
                <c:pt idx="8">
                  <c:v>2.5738</c:v>
                </c:pt>
                <c:pt idx="9">
                  <c:v>1.6511</c:v>
                </c:pt>
                <c:pt idx="10">
                  <c:v>2.0187</c:v>
                </c:pt>
              </c:numCache>
            </c:numRef>
          </c:xVal>
          <c:yVal>
            <c:numRef>
              <c:f>Sheet1!$B$2:$B$12</c:f>
              <c:numCache>
                <c:formatCode>General</c:formatCode>
                <c:ptCount val="11"/>
                <c:pt idx="0">
                  <c:v>0.6078</c:v>
                </c:pt>
                <c:pt idx="1">
                  <c:v>0.2544</c:v>
                </c:pt>
                <c:pt idx="2">
                  <c:v>0.797</c:v>
                </c:pt>
                <c:pt idx="3">
                  <c:v>0.3715</c:v>
                </c:pt>
                <c:pt idx="4">
                  <c:v>0.6948</c:v>
                </c:pt>
                <c:pt idx="5">
                  <c:v>0.6037</c:v>
                </c:pt>
                <c:pt idx="6">
                  <c:v>0.7142</c:v>
                </c:pt>
                <c:pt idx="7">
                  <c:v>0.7271</c:v>
                </c:pt>
                <c:pt idx="8">
                  <c:v>0.7947</c:v>
                </c:pt>
                <c:pt idx="9">
                  <c:v>0.6903</c:v>
                </c:pt>
                <c:pt idx="10">
                  <c:v>0.5305</c:v>
                </c:pt>
              </c:numCache>
            </c:numRef>
          </c:yVal>
          <c:bubbleSize>
            <c:numRef>
              <c:f>Sheet1!$C$2:$C$12</c:f>
              <c:numCache>
                <c:formatCode>General</c:formatCode>
                <c:ptCount val="11"/>
                <c:pt idx="0">
                  <c:v>2069.6072</c:v>
                </c:pt>
                <c:pt idx="1">
                  <c:v>1055523.5942</c:v>
                </c:pt>
                <c:pt idx="2">
                  <c:v>1733.2224</c:v>
                </c:pt>
                <c:pt idx="3">
                  <c:v>55007.155300000006</c:v>
                </c:pt>
                <c:pt idx="4">
                  <c:v>2525616.0185</c:v>
                </c:pt>
                <c:pt idx="5">
                  <c:v>72621.1476</c:v>
                </c:pt>
                <c:pt idx="6">
                  <c:v>27404.9312</c:v>
                </c:pt>
                <c:pt idx="7">
                  <c:v>69360.26759999999</c:v>
                </c:pt>
                <c:pt idx="8">
                  <c:v>6169.4464</c:v>
                </c:pt>
                <c:pt idx="9">
                  <c:v>3125406.0482</c:v>
                </c:pt>
                <c:pt idx="10">
                  <c:v>2189444.76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0.959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06462918824268"/>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3736244520592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1BA999A-78F5-400C-AB74-112FC0D15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6E7F3A5-91DD-403E-B9A1-ECB1BABAB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7E68276-8405-4CF7-A4AC-1B1A52591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3F58D35-3E4F-45B7-800E-C25F2290E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9239947-0070-405F-B67F-F107676CA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404354E-6BBD-401F-B90E-C546312B5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DFA679A-DDD9-45C0-922F-31E2DE01E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21408F-5524-419A-BE14-8B04D4BD8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592</c:v>
                </c:pt>
                <c:pt idx="1">
                  <c:v>0.9762</c:v>
                </c:pt>
                <c:pt idx="2">
                  <c:v>1.1418</c:v>
                </c:pt>
                <c:pt idx="3">
                  <c:v>1.275</c:v>
                </c:pt>
              </c:numCache>
            </c:numRef>
          </c:xVal>
          <c:yVal>
            <c:numRef>
              <c:f>Sheet1!$B$2:$B$5</c:f>
              <c:numCache>
                <c:formatCode>General</c:formatCode>
                <c:ptCount val="4"/>
                <c:pt idx="0">
                  <c:v>0.4198</c:v>
                </c:pt>
                <c:pt idx="1">
                  <c:v>0.6837</c:v>
                </c:pt>
                <c:pt idx="2">
                  <c:v>0.7091</c:v>
                </c:pt>
                <c:pt idx="3">
                  <c:v>0.7317</c:v>
                </c:pt>
              </c:numCache>
            </c:numRef>
          </c:yVal>
          <c:bubbleSize>
            <c:numRef>
              <c:f>Sheet1!$C$2:$C$5</c:f>
              <c:numCache>
                <c:formatCode>General</c:formatCode>
                <c:ptCount val="4"/>
                <c:pt idx="0">
                  <c:v>1046552.1158</c:v>
                </c:pt>
                <c:pt idx="1">
                  <c:v>365615.01729999995</c:v>
                </c:pt>
                <c:pt idx="2">
                  <c:v>1171834.1069</c:v>
                </c:pt>
                <c:pt idx="3">
                  <c:v>2266539.603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0.7809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53265421698722"/>
        <c:crossBetween val="midCat"/>
      </c:valAx>
      <c:valAx>
        <c:axId val="1011451359"/>
        <c:scaling>
          <c:orientation val="minMax"/>
          <c:max val="1.23804"/>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1072931220961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4EA9F9E-34B9-4036-A048-2E042632B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17278A7-6BA5-485D-8E33-F6DDE68B9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90BC5DD-3B80-4DF6-A62D-E24615CEE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019578B-994F-4525-8B77-61ADE6D28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3E6A8E5-5CB8-470D-9F7C-4B96DBD66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92E8215-436F-4495-A2B4-DC9B8446A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B815B89-DA1C-4C3D-8628-92383FA16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D927B07-BBF0-4A83-B785-630E6A724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443</c:v>
                </c:pt>
                <c:pt idx="1">
                  <c:v>2.5353</c:v>
                </c:pt>
                <c:pt idx="2">
                  <c:v>1.6498</c:v>
                </c:pt>
                <c:pt idx="3">
                  <c:v>2.0186</c:v>
                </c:pt>
              </c:numCache>
            </c:numRef>
          </c:xVal>
          <c:yVal>
            <c:numRef>
              <c:f>Sheet1!$B$2:$B$5</c:f>
              <c:numCache>
                <c:formatCode>General</c:formatCode>
                <c:ptCount val="4"/>
                <c:pt idx="0">
                  <c:v>0.6969</c:v>
                </c:pt>
                <c:pt idx="1">
                  <c:v>0.7947</c:v>
                </c:pt>
                <c:pt idx="2">
                  <c:v>0.6902</c:v>
                </c:pt>
                <c:pt idx="3">
                  <c:v>0.5307</c:v>
                </c:pt>
              </c:numCache>
            </c:numRef>
          </c:yVal>
          <c:bubbleSize>
            <c:numRef>
              <c:f>Sheet1!$C$2:$C$5</c:f>
              <c:numCache>
                <c:formatCode>General</c:formatCode>
                <c:ptCount val="4"/>
                <c:pt idx="0">
                  <c:v>1141.1115999999997</c:v>
                </c:pt>
                <c:pt idx="1">
                  <c:v>1341.184</c:v>
                </c:pt>
                <c:pt idx="2">
                  <c:v>278077.10880000005</c:v>
                </c:pt>
                <c:pt idx="3">
                  <c:v>175947.76450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4236"/>
          <c:min val="1.31544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0490013655293"/>
        <c:crossBetween val="midCat"/>
      </c:valAx>
      <c:valAx>
        <c:axId val="1011451359"/>
        <c:scaling>
          <c:orientation val="minMax"/>
          <c:max val="1.31364"/>
          <c:min val="0.1845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9453130405597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EFBE433-8042-4271-92AA-FC94DB238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2D644C1-560F-4D13-82C5-FC9B77666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FE1036D-FB82-4CF6-8C53-716947BC1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36E15B9-2A22-4365-8313-E6D825FB7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15268BB-0B40-4517-B791-9856F7C96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80B0425-36CA-4942-8AA2-996F3B3DC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537BF3D-D8BD-4A14-8342-1DBD7649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B751625-2642-452C-BCAE-696FFB13E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589</c:v>
                </c:pt>
                <c:pt idx="1">
                  <c:v>0.9758</c:v>
                </c:pt>
                <c:pt idx="2">
                  <c:v>1.1412</c:v>
                </c:pt>
                <c:pt idx="3">
                  <c:v>1.2748</c:v>
                </c:pt>
              </c:numCache>
            </c:numRef>
          </c:xVal>
          <c:yVal>
            <c:numRef>
              <c:f>Sheet1!$B$2:$B$5</c:f>
              <c:numCache>
                <c:formatCode>General</c:formatCode>
                <c:ptCount val="4"/>
                <c:pt idx="0">
                  <c:v>0.4199</c:v>
                </c:pt>
                <c:pt idx="1">
                  <c:v>0.6837</c:v>
                </c:pt>
                <c:pt idx="2">
                  <c:v>0.7091</c:v>
                </c:pt>
                <c:pt idx="3">
                  <c:v>0.7318</c:v>
                </c:pt>
              </c:numCache>
            </c:numRef>
          </c:yVal>
          <c:bubbleSize>
            <c:numRef>
              <c:f>Sheet1!$C$2:$C$5</c:f>
              <c:numCache>
                <c:formatCode>General</c:formatCode>
                <c:ptCount val="4"/>
                <c:pt idx="0">
                  <c:v>89489.17039999997</c:v>
                </c:pt>
                <c:pt idx="1">
                  <c:v>28301.748799999998</c:v>
                </c:pt>
                <c:pt idx="2">
                  <c:v>86297.40030000001</c:v>
                </c:pt>
                <c:pt idx="3">
                  <c:v>182797.47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0.780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10734970506645"/>
        <c:crossBetween val="midCat"/>
      </c:valAx>
      <c:valAx>
        <c:axId val="1011451359"/>
        <c:scaling>
          <c:orientation val="minMax"/>
          <c:max val="1.23816"/>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27624995362093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BD58B34-72A4-42B7-8C58-491E83005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6FEB9FF-2CA5-48C2-AE8D-7BE8855AC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1433037-8E03-4B3A-A252-762EEFA5E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2D621B0-F0DA-4636-8024-B7695656B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EEFF881-0E39-4824-BDA7-E3CD04221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7549E22-9851-484F-843E-C643D22C3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E2E4F59-570D-4195-8421-B66DDC138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09FD5D7-EAB3-4C59-B397-5259EADBB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763</c:v>
                </c:pt>
                <c:pt idx="1">
                  <c:v>3.2023</c:v>
                </c:pt>
              </c:numCache>
            </c:numRef>
          </c:xVal>
          <c:yVal>
            <c:numRef>
              <c:f>Sheet1!$B$2:$B$3</c:f>
              <c:numCache>
                <c:formatCode>General</c:formatCode>
                <c:ptCount val="2"/>
                <c:pt idx="0">
                  <c:v>0.639</c:v>
                </c:pt>
                <c:pt idx="1">
                  <c:v>0.4911</c:v>
                </c:pt>
              </c:numCache>
            </c:numRef>
          </c:yVal>
          <c:bubbleSize>
            <c:numRef>
              <c:f>Sheet1!$C$2:$C$3</c:f>
              <c:numCache>
                <c:formatCode>General</c:formatCode>
                <c:ptCount val="2"/>
                <c:pt idx="0">
                  <c:v>556432.6862000002</c:v>
                </c:pt>
                <c:pt idx="1">
                  <c:v>2331.2424999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84276"/>
          <c:min val="1.41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383829401862926"/>
        <c:crossBetween val="midCat"/>
      </c:valAx>
      <c:valAx>
        <c:axId val="1011451359"/>
        <c:scaling>
          <c:orientation val="minMax"/>
          <c:max val="1.1268"/>
          <c:min val="0.1528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6900496409647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8853F00-A7C1-47ED-A827-972851CF4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D26BEED-71C4-48D5-8D6F-C1ECFB25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24220F3-6867-4B9B-9D5A-55374C7A4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8646E15-56F2-4753-BB98-0D1D3306E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47B3A4B-E9DF-4A21-8179-9215DFE91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81775E0-6197-43CD-8619-C4735093D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2981BC8-19E0-4854-A79B-6A5F2F842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3D51AEA-CF6D-4401-B8D7-75535469C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2298</c:v>
                </c:pt>
                <c:pt idx="1">
                  <c:v>4.7177</c:v>
                </c:pt>
                <c:pt idx="2">
                  <c:v>1.7027</c:v>
                </c:pt>
                <c:pt idx="3">
                  <c:v>1.5005</c:v>
                </c:pt>
                <c:pt idx="4">
                  <c:v>1.1915</c:v>
                </c:pt>
                <c:pt idx="5">
                  <c:v>1.6533</c:v>
                </c:pt>
                <c:pt idx="6">
                  <c:v>2.0185</c:v>
                </c:pt>
              </c:numCache>
            </c:numRef>
          </c:xVal>
          <c:yVal>
            <c:numRef>
              <c:f>Sheet1!$B$2:$B$8</c:f>
              <c:numCache>
                <c:formatCode>General</c:formatCode>
                <c:ptCount val="7"/>
                <c:pt idx="0">
                  <c:v>0.2544</c:v>
                </c:pt>
                <c:pt idx="1">
                  <c:v>0.372</c:v>
                </c:pt>
                <c:pt idx="2">
                  <c:v>0.695</c:v>
                </c:pt>
                <c:pt idx="3">
                  <c:v>0.6039</c:v>
                </c:pt>
                <c:pt idx="4">
                  <c:v>0.7269</c:v>
                </c:pt>
                <c:pt idx="5">
                  <c:v>0.6906</c:v>
                </c:pt>
                <c:pt idx="6">
                  <c:v>0.5305</c:v>
                </c:pt>
              </c:numCache>
            </c:numRef>
          </c:yVal>
          <c:bubbleSize>
            <c:numRef>
              <c:f>Sheet1!$C$2:$C$8</c:f>
              <c:numCache>
                <c:formatCode>General</c:formatCode>
                <c:ptCount val="7"/>
                <c:pt idx="0">
                  <c:v>3101.6832999999997</c:v>
                </c:pt>
                <c:pt idx="1">
                  <c:v>1486.0825</c:v>
                </c:pt>
                <c:pt idx="2">
                  <c:v>127660.91679999999</c:v>
                </c:pt>
                <c:pt idx="3">
                  <c:v>3205.0188000000003</c:v>
                </c:pt>
                <c:pt idx="4">
                  <c:v>3367.1780999999996</c:v>
                </c:pt>
                <c:pt idx="5">
                  <c:v>244698.5876</c:v>
                </c:pt>
                <c:pt idx="6">
                  <c:v>173389.46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0.953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382036198901855"/>
        <c:crossBetween val="midCat"/>
      </c:valAx>
      <c:valAx>
        <c:axId val="1011451359"/>
        <c:scaling>
          <c:orientation val="minMax"/>
          <c:max val="1.2322799999999998"/>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78604282333398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7678A64-B628-4917-9290-FC0F8C57F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2CF3334-2A07-41A6-BFB8-2A0E50488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F705F5E-A98D-4F24-AD61-00014AAE0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8C30C3A-EDBE-44DF-BBC7-EB9171C44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AB10377-EE10-42E2-838F-1DA3CBBDF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4B63304-7CCA-47B1-88E8-148B5AB98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C1EF8F0-DE3A-43A1-B0BD-E4C45E9B8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D56C539-B6A3-472F-BC66-8F3B49B99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586</c:v>
                </c:pt>
                <c:pt idx="1">
                  <c:v>0.9755</c:v>
                </c:pt>
                <c:pt idx="2">
                  <c:v>1.1413</c:v>
                </c:pt>
                <c:pt idx="3">
                  <c:v>1.2749</c:v>
                </c:pt>
              </c:numCache>
            </c:numRef>
          </c:xVal>
          <c:yVal>
            <c:numRef>
              <c:f>Sheet1!$B$2:$B$5</c:f>
              <c:numCache>
                <c:formatCode>General</c:formatCode>
                <c:ptCount val="4"/>
                <c:pt idx="0">
                  <c:v>0.4195</c:v>
                </c:pt>
                <c:pt idx="1">
                  <c:v>0.6837</c:v>
                </c:pt>
                <c:pt idx="2">
                  <c:v>0.7091</c:v>
                </c:pt>
                <c:pt idx="3">
                  <c:v>0.7317</c:v>
                </c:pt>
              </c:numCache>
            </c:numRef>
          </c:yVal>
          <c:bubbleSize>
            <c:numRef>
              <c:f>Sheet1!$C$2:$C$5</c:f>
              <c:numCache>
                <c:formatCode>General</c:formatCode>
                <c:ptCount val="4"/>
                <c:pt idx="0">
                  <c:v>78650.09289999999</c:v>
                </c:pt>
                <c:pt idx="1">
                  <c:v>30082.322399999997</c:v>
                </c:pt>
                <c:pt idx="2">
                  <c:v>85603.14790000001</c:v>
                </c:pt>
                <c:pt idx="3">
                  <c:v>162101.853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0.780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33324092125448"/>
        <c:crossBetween val="midCat"/>
      </c:valAx>
      <c:valAx>
        <c:axId val="1011451359"/>
        <c:scaling>
          <c:orientation val="minMax"/>
          <c:max val="1.23804"/>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5394758164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808A936-A9DE-469C-BBAB-BA44081D2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F91FD78-0B47-4F9D-831B-8B39A3D34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3B5A6D0-712F-48C6-954B-362CC8E22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FFB9937-ADF7-48A0-9239-EE42B2A97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F28BF48-E9FB-455D-9888-B5EEECBBA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7D7252D-BAC6-4558-B988-36E982D7F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0CB1800-6B3F-4468-BE13-C60013CB5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5AAA4D4-5AB6-4591-8686-89E4AE2F1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2.9938</c:v>
                </c:pt>
                <c:pt idx="1">
                  <c:v>2.233</c:v>
                </c:pt>
                <c:pt idx="2">
                  <c:v>2.5531</c:v>
                </c:pt>
                <c:pt idx="3">
                  <c:v>4.7263</c:v>
                </c:pt>
                <c:pt idx="4">
                  <c:v>1.702</c:v>
                </c:pt>
                <c:pt idx="5">
                  <c:v>1.5077</c:v>
                </c:pt>
                <c:pt idx="6">
                  <c:v>2.2102</c:v>
                </c:pt>
                <c:pt idx="7">
                  <c:v>1.1994</c:v>
                </c:pt>
                <c:pt idx="8">
                  <c:v>2.5646</c:v>
                </c:pt>
                <c:pt idx="9">
                  <c:v>1.6512</c:v>
                </c:pt>
                <c:pt idx="10">
                  <c:v>2.0186</c:v>
                </c:pt>
              </c:numCache>
            </c:numRef>
          </c:xVal>
          <c:yVal>
            <c:numRef>
              <c:f>Sheet1!$B$2:$B$12</c:f>
              <c:numCache>
                <c:formatCode>General</c:formatCode>
                <c:ptCount val="11"/>
                <c:pt idx="0">
                  <c:v>0.6078</c:v>
                </c:pt>
                <c:pt idx="1">
                  <c:v>0.2544</c:v>
                </c:pt>
                <c:pt idx="2">
                  <c:v>0.797</c:v>
                </c:pt>
                <c:pt idx="3">
                  <c:v>0.3715</c:v>
                </c:pt>
                <c:pt idx="4">
                  <c:v>0.6948</c:v>
                </c:pt>
                <c:pt idx="5">
                  <c:v>0.6037</c:v>
                </c:pt>
                <c:pt idx="6">
                  <c:v>0.7136</c:v>
                </c:pt>
                <c:pt idx="7">
                  <c:v>0.7271</c:v>
                </c:pt>
                <c:pt idx="8">
                  <c:v>0.7947</c:v>
                </c:pt>
                <c:pt idx="9">
                  <c:v>0.6903</c:v>
                </c:pt>
                <c:pt idx="10">
                  <c:v>0.5305</c:v>
                </c:pt>
              </c:numCache>
            </c:numRef>
          </c:yVal>
          <c:bubbleSize>
            <c:numRef>
              <c:f>Sheet1!$C$2:$C$12</c:f>
              <c:numCache>
                <c:formatCode>General</c:formatCode>
                <c:ptCount val="11"/>
                <c:pt idx="0">
                  <c:v>2502.780799999999</c:v>
                </c:pt>
                <c:pt idx="1">
                  <c:v>1058631.9766</c:v>
                </c:pt>
                <c:pt idx="2">
                  <c:v>1764.1728</c:v>
                </c:pt>
                <c:pt idx="3">
                  <c:v>56493.2378</c:v>
                </c:pt>
                <c:pt idx="4">
                  <c:v>2654418.0468999995</c:v>
                </c:pt>
                <c:pt idx="5">
                  <c:v>75862.37519999998</c:v>
                </c:pt>
                <c:pt idx="6">
                  <c:v>28272.3697</c:v>
                </c:pt>
                <c:pt idx="7">
                  <c:v>72733.44779999998</c:v>
                </c:pt>
                <c:pt idx="8">
                  <c:v>8139.9552</c:v>
                </c:pt>
                <c:pt idx="9">
                  <c:v>3648181.7446000013</c:v>
                </c:pt>
                <c:pt idx="10">
                  <c:v>2538781.9903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0.959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39958619178358"/>
        <c:crossBetween val="midCat"/>
      </c:valAx>
      <c:valAx>
        <c:axId val="1011451359"/>
        <c:scaling>
          <c:orientation val="minMax"/>
          <c:max val="1.3164"/>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3272083003385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0F09F92-700F-461D-A001-494F042F3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EBA5203-8C5A-4B7B-841E-7218B8FDC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EC560B4-38E2-4A8F-A1E0-99376BC8D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D343AE8-299F-4E2E-9184-92C4AFE9D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215F903-5A0F-43EB-97F3-E6292FF66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360FA35-D0A3-40DD-AA7B-87AC894F0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B219AA6-67B1-4FBD-94D9-1C876C201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DA0FBC1-06AA-47B2-B2D5-91F0B1EC6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0.916</c:v>
                </c:pt>
                <c:pt idx="1">
                  <c:v>2.1591</c:v>
                </c:pt>
                <c:pt idx="2">
                  <c:v>0.9761</c:v>
                </c:pt>
                <c:pt idx="3">
                  <c:v>1.1417</c:v>
                </c:pt>
                <c:pt idx="4">
                  <c:v>1.275</c:v>
                </c:pt>
              </c:numCache>
            </c:numRef>
          </c:xVal>
          <c:yVal>
            <c:numRef>
              <c:f>Sheet1!$B$2:$B$6</c:f>
              <c:numCache>
                <c:formatCode>General</c:formatCode>
                <c:ptCount val="5"/>
                <c:pt idx="0">
                  <c:v>0.7386</c:v>
                </c:pt>
                <c:pt idx="1">
                  <c:v>0.4198</c:v>
                </c:pt>
                <c:pt idx="2">
                  <c:v>0.6837</c:v>
                </c:pt>
                <c:pt idx="3">
                  <c:v>0.7091</c:v>
                </c:pt>
                <c:pt idx="4">
                  <c:v>0.7317</c:v>
                </c:pt>
              </c:numCache>
            </c:numRef>
          </c:yVal>
          <c:bubbleSize>
            <c:numRef>
              <c:f>Sheet1!$C$2:$C$6</c:f>
              <c:numCache>
                <c:formatCode>General</c:formatCode>
                <c:ptCount val="5"/>
                <c:pt idx="0">
                  <c:v>1094.5674000000001</c:v>
                </c:pt>
                <c:pt idx="1">
                  <c:v>1214691.3791000003</c:v>
                </c:pt>
                <c:pt idx="2">
                  <c:v>423999.0885</c:v>
                </c:pt>
                <c:pt idx="3">
                  <c:v>1343734.6551</c:v>
                </c:pt>
                <c:pt idx="4">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0.7328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210500610623"/>
        <c:crossBetween val="midCat"/>
      </c:valAx>
      <c:valAx>
        <c:axId val="1011451359"/>
        <c:scaling>
          <c:orientation val="minMax"/>
          <c:max val="1.2463199999999999"/>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20611591950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C462382-8A34-4F1B-BB7A-CB8F06A7F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26C8FD5-2F07-46D5-A01D-B4C2C7C5F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946F73C-02FD-41F7-82B2-E714CF78C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1EC10D3-D079-4F27-8970-F4C9BA264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A65F27F-2569-45DA-AA08-F713E8968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A52C74A-70FE-40FC-9E89-49DE7E8B5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A19CD0C-D50B-438D-88FA-1F2CAA715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17BD75E-85A8-40E6-AB8E-893302070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0.8286</c:v>
                </c:pt>
                <c:pt idx="1">
                  <c:v>0.7997</c:v>
                </c:pt>
                <c:pt idx="2">
                  <c:v>0.8188</c:v>
                </c:pt>
                <c:pt idx="3">
                  <c:v>1.0221</c:v>
                </c:pt>
                <c:pt idx="4">
                  <c:v>0.9366</c:v>
                </c:pt>
                <c:pt idx="5">
                  <c:v>0.9699</c:v>
                </c:pt>
                <c:pt idx="6">
                  <c:v>0.351</c:v>
                </c:pt>
                <c:pt idx="7">
                  <c:v>1.0565</c:v>
                </c:pt>
              </c:numCache>
            </c:numRef>
          </c:xVal>
          <c:yVal>
            <c:numRef>
              <c:f>Sheet1!$B$2:$B$9</c:f>
              <c:numCache>
                <c:formatCode>General</c:formatCode>
                <c:ptCount val="8"/>
                <c:pt idx="0">
                  <c:v>0.3363</c:v>
                </c:pt>
                <c:pt idx="1">
                  <c:v>0.5238</c:v>
                </c:pt>
                <c:pt idx="2">
                  <c:v>0.4895</c:v>
                </c:pt>
                <c:pt idx="3">
                  <c:v>0.6218</c:v>
                </c:pt>
                <c:pt idx="4">
                  <c:v>0.6295</c:v>
                </c:pt>
                <c:pt idx="5">
                  <c:v>0.6515</c:v>
                </c:pt>
                <c:pt idx="6">
                  <c:v>0.7677</c:v>
                </c:pt>
                <c:pt idx="7">
                  <c:v>0.6351</c:v>
                </c:pt>
              </c:numCache>
            </c:numRef>
          </c:yVal>
          <c:bubbleSize>
            <c:numRef>
              <c:f>Sheet1!$C$2:$C$9</c:f>
              <c:numCache>
                <c:formatCode>General</c:formatCode>
                <c:ptCount val="8"/>
                <c:pt idx="0">
                  <c:v>838701.6858000001</c:v>
                </c:pt>
                <c:pt idx="1">
                  <c:v>1920827.2086</c:v>
                </c:pt>
                <c:pt idx="2">
                  <c:v>301018.2378</c:v>
                </c:pt>
                <c:pt idx="3">
                  <c:v>2551270.2802000004</c:v>
                </c:pt>
                <c:pt idx="4">
                  <c:v>390839.139</c:v>
                </c:pt>
                <c:pt idx="5">
                  <c:v>3101731.2096000006</c:v>
                </c:pt>
                <c:pt idx="6">
                  <c:v>3200726.89</c:v>
                </c:pt>
                <c:pt idx="7">
                  <c:v>350237.7073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8"/>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96433203314779"/>
        <c:crossBetween val="midCat"/>
      </c:valAx>
      <c:valAx>
        <c:axId val="1011451359"/>
        <c:scaling>
          <c:orientation val="minMax"/>
          <c:max val="1.2812400000000002"/>
          <c:min val="0.02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647127746526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C63DD48-3499-4D50-B354-BC00CCE5D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66D8BF2-7089-4477-B546-2ABCD4B9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0900210-46BD-41C9-95E1-8A826DDF3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76779B1-A24A-41E2-A6F1-876389FFF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8B24DAB-AC74-4144-9280-D2EBE3AF0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C052775-6B29-4719-B3A6-C5288B919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EEF492C-24C8-4AE0-A113-B4CDF5DC1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1B0A454-E9FA-4A26-8002-70029FBFA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8</c:v>
                </c:pt>
                <c:pt idx="4">
                  <c:v>0.1407</c:v>
                </c:pt>
                <c:pt idx="5">
                  <c:v>0.1083</c:v>
                </c:pt>
              </c:numCache>
            </c:numRef>
          </c:xVal>
          <c:yVal>
            <c:numRef>
              <c:f>Sheet1!$B$2:$B$7</c:f>
              <c:numCache>
                <c:formatCode>General</c:formatCode>
                <c:ptCount val="6"/>
                <c:pt idx="0">
                  <c:v>0.4911</c:v>
                </c:pt>
                <c:pt idx="1">
                  <c:v>0.4934</c:v>
                </c:pt>
                <c:pt idx="2">
                  <c:v>0.4797</c:v>
                </c:pt>
                <c:pt idx="3">
                  <c:v>0.5165</c:v>
                </c:pt>
                <c:pt idx="4">
                  <c:v>0.0105</c:v>
                </c:pt>
                <c:pt idx="5">
                  <c:v>-0.0026</c:v>
                </c:pt>
              </c:numCache>
            </c:numRef>
          </c:yVal>
          <c:bubbleSize>
            <c:numRef>
              <c:f>Sheet1!$C$2:$C$7</c:f>
              <c:numCache>
                <c:formatCode>General</c:formatCode>
                <c:ptCount val="6"/>
                <c:pt idx="0">
                  <c:v>4518773.504</c:v>
                </c:pt>
                <c:pt idx="1">
                  <c:v>1798622.3696</c:v>
                </c:pt>
                <c:pt idx="2">
                  <c:v>1614221.3449</c:v>
                </c:pt>
                <c:pt idx="3">
                  <c:v>1997336.7136000004</c:v>
                </c:pt>
                <c:pt idx="4">
                  <c:v>1228819.4014</c:v>
                </c:pt>
                <c:pt idx="5">
                  <c:v>2298580.12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958164433314"/>
        <c:crossBetween val="midCat"/>
      </c:valAx>
      <c:valAx>
        <c:axId val="1011451359"/>
        <c:scaling>
          <c:orientation val="minMax"/>
          <c:max val="0.9798"/>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596151433530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DE51560-EED6-46A1-9ED5-4C6BFB8DD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D0D61C7-C676-46A3-874F-3E5F73367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622428D-0B81-4A77-805A-16FF7D7D7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F682406-BDF3-4269-8354-F395B0261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35FF715-EFB9-4616-9305-E225E85B5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8D9E3C0-BA8B-46A6-841F-B571013E5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4E94FA3-08E1-4A03-94EE-CAC591A9F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E9DA378-DF92-42C9-ACBA-DB7075561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0.8266</c:v>
                </c:pt>
                <c:pt idx="1">
                  <c:v>0.7994</c:v>
                </c:pt>
                <c:pt idx="2">
                  <c:v>0.8186</c:v>
                </c:pt>
                <c:pt idx="3">
                  <c:v>1.0221</c:v>
                </c:pt>
                <c:pt idx="4">
                  <c:v>0.9365</c:v>
                </c:pt>
                <c:pt idx="5">
                  <c:v>0.9699</c:v>
                </c:pt>
                <c:pt idx="6">
                  <c:v>0.351</c:v>
                </c:pt>
                <c:pt idx="7">
                  <c:v>1.0563</c:v>
                </c:pt>
              </c:numCache>
            </c:numRef>
          </c:xVal>
          <c:yVal>
            <c:numRef>
              <c:f>Sheet1!$B$2:$B$9</c:f>
              <c:numCache>
                <c:formatCode>General</c:formatCode>
                <c:ptCount val="8"/>
                <c:pt idx="0">
                  <c:v>0.3363</c:v>
                </c:pt>
                <c:pt idx="1">
                  <c:v>0.5237</c:v>
                </c:pt>
                <c:pt idx="2">
                  <c:v>0.4895</c:v>
                </c:pt>
                <c:pt idx="3">
                  <c:v>0.6218</c:v>
                </c:pt>
                <c:pt idx="4">
                  <c:v>0.6295</c:v>
                </c:pt>
                <c:pt idx="5">
                  <c:v>0.6515</c:v>
                </c:pt>
                <c:pt idx="6">
                  <c:v>0.7677</c:v>
                </c:pt>
                <c:pt idx="7">
                  <c:v>0.6351</c:v>
                </c:pt>
              </c:numCache>
            </c:numRef>
          </c:yVal>
          <c:bubbleSize>
            <c:numRef>
              <c:f>Sheet1!$C$2:$C$9</c:f>
              <c:numCache>
                <c:formatCode>General</c:formatCode>
                <c:ptCount val="8"/>
                <c:pt idx="0">
                  <c:v>2412.9196</c:v>
                </c:pt>
                <c:pt idx="1">
                  <c:v>144963.8552</c:v>
                </c:pt>
                <c:pt idx="2">
                  <c:v>23760.718799999995</c:v>
                </c:pt>
                <c:pt idx="3">
                  <c:v>180016.2997</c:v>
                </c:pt>
                <c:pt idx="4">
                  <c:v>28611.328400000002</c:v>
                </c:pt>
                <c:pt idx="5">
                  <c:v>239980.50240000003</c:v>
                </c:pt>
                <c:pt idx="6">
                  <c:v>263862.60159999994</c:v>
                </c:pt>
                <c:pt idx="7">
                  <c:v>23392.570499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56"/>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27845561223665"/>
        <c:crossBetween val="midCat"/>
      </c:valAx>
      <c:valAx>
        <c:axId val="1011451359"/>
        <c:scaling>
          <c:orientation val="minMax"/>
          <c:max val="1.2812400000000002"/>
          <c:min val="0.02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6979067289863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40F5CD9-F87B-42CB-BEEB-983CC5B7F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407883F-F860-4322-8546-1464E66A7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B476F32-19F9-4DF7-ABDE-3DBDECAC7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77DB07D-9D04-47A0-A4F7-2F35866BE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060217D-DDD0-4D33-A69E-5570EB516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688E9C7-5B88-4046-845E-8CA393F9C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715B432-8545-42A2-81B9-2D5CFBA6B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CFB54F9-58CA-4EB7-B09F-942E9E6B0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7</c:v>
                </c:pt>
                <c:pt idx="4">
                  <c:v>0.1407</c:v>
                </c:pt>
                <c:pt idx="5">
                  <c:v>0.1083</c:v>
                </c:pt>
              </c:numCache>
            </c:numRef>
          </c:xVal>
          <c:yVal>
            <c:numRef>
              <c:f>Sheet1!$B$2:$B$7</c:f>
              <c:numCache>
                <c:formatCode>General</c:formatCode>
                <c:ptCount val="6"/>
                <c:pt idx="0">
                  <c:v>0.4911</c:v>
                </c:pt>
                <c:pt idx="1">
                  <c:v>0.4934</c:v>
                </c:pt>
                <c:pt idx="2">
                  <c:v>0.48</c:v>
                </c:pt>
                <c:pt idx="3">
                  <c:v>0.5166</c:v>
                </c:pt>
                <c:pt idx="4">
                  <c:v>0.0104</c:v>
                </c:pt>
                <c:pt idx="5">
                  <c:v>-0.0032</c:v>
                </c:pt>
              </c:numCache>
            </c:numRef>
          </c:yVal>
          <c:bubbleSize>
            <c:numRef>
              <c:f>Sheet1!$C$2:$C$7</c:f>
              <c:numCache>
                <c:formatCode>General</c:formatCode>
                <c:ptCount val="6"/>
                <c:pt idx="0">
                  <c:v>310226.51690000005</c:v>
                </c:pt>
                <c:pt idx="1">
                  <c:v>129385.61390000003</c:v>
                </c:pt>
                <c:pt idx="2">
                  <c:v>100468.0599</c:v>
                </c:pt>
                <c:pt idx="3">
                  <c:v>141820.57580000002</c:v>
                </c:pt>
                <c:pt idx="4">
                  <c:v>85078.34020000002</c:v>
                </c:pt>
                <c:pt idx="5">
                  <c:v>185958.433400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466126171696827"/>
        <c:crossBetween val="midCat"/>
      </c:valAx>
      <c:valAx>
        <c:axId val="1011451359"/>
        <c:scaling>
          <c:orientation val="minMax"/>
          <c:max val="0.9799199999999999"/>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5385188349041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93861AD-8FCC-4FA1-8236-09BB988AB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B5E6D37-A03E-440F-8390-F8E7511FA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8E004F4-E563-481C-9B30-2593535CF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4BB59B6-3F50-48FE-967E-744A4B251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5D3A8D3-1849-4B9D-BF52-AC33D2DF8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CEFFD8D-7E74-4EAD-9283-40DFD9EC1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24C9B4B-4BAC-47FA-BB54-B26F64B98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A56F5D3-026F-4F57-A55A-13A42E30A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0.8004</c:v>
                </c:pt>
                <c:pt idx="1">
                  <c:v>0.8183</c:v>
                </c:pt>
                <c:pt idx="2">
                  <c:v>1.0227</c:v>
                </c:pt>
                <c:pt idx="3">
                  <c:v>0.9362</c:v>
                </c:pt>
                <c:pt idx="4">
                  <c:v>0.9706</c:v>
                </c:pt>
                <c:pt idx="5">
                  <c:v>0.3509</c:v>
                </c:pt>
                <c:pt idx="6">
                  <c:v>1.0563</c:v>
                </c:pt>
              </c:numCache>
            </c:numRef>
          </c:xVal>
          <c:yVal>
            <c:numRef>
              <c:f>Sheet1!$B$2:$B$8</c:f>
              <c:numCache>
                <c:formatCode>General</c:formatCode>
                <c:ptCount val="7"/>
                <c:pt idx="0">
                  <c:v>0.5245</c:v>
                </c:pt>
                <c:pt idx="1">
                  <c:v>0.4895</c:v>
                </c:pt>
                <c:pt idx="2">
                  <c:v>0.622</c:v>
                </c:pt>
                <c:pt idx="3">
                  <c:v>0.6295</c:v>
                </c:pt>
                <c:pt idx="4">
                  <c:v>0.6518</c:v>
                </c:pt>
                <c:pt idx="5">
                  <c:v>0.7677</c:v>
                </c:pt>
                <c:pt idx="6">
                  <c:v>0.6351</c:v>
                </c:pt>
              </c:numCache>
            </c:numRef>
          </c:yVal>
          <c:bubbleSize>
            <c:numRef>
              <c:f>Sheet1!$C$2:$C$8</c:f>
              <c:numCache>
                <c:formatCode>General</c:formatCode>
                <c:ptCount val="7"/>
                <c:pt idx="0">
                  <c:v>93532.5477</c:v>
                </c:pt>
                <c:pt idx="1">
                  <c:v>11674.0008</c:v>
                </c:pt>
                <c:pt idx="2">
                  <c:v>181395.7701</c:v>
                </c:pt>
                <c:pt idx="3">
                  <c:v>25231.624600000003</c:v>
                </c:pt>
                <c:pt idx="4">
                  <c:v>230309.5296</c:v>
                </c:pt>
                <c:pt idx="5">
                  <c:v>219178.043</c:v>
                </c:pt>
                <c:pt idx="6">
                  <c:v>24732.307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56"/>
          <c:min val="0.280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8440846544822"/>
        <c:crossBetween val="midCat"/>
      </c:valAx>
      <c:valAx>
        <c:axId val="1011451359"/>
        <c:scaling>
          <c:orientation val="minMax"/>
          <c:max val="1.2812400000000002"/>
          <c:min val="0.151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8908227199458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012A0B9-5DFD-467D-BFD0-CC31F9C71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B70CACB-67EA-4750-AA44-A0D78C4B7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DC5D402-F0FD-42A4-9556-95D439188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3A66F96-3C0F-45EF-8493-100E30D77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7EBFC61-32F2-4F2A-ABFA-FA0697339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874F594-2267-40B2-95C8-9B9DE01D5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19604AB-B4C2-433C-B2BE-2E3E9AE4D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6C5FCCF-4B92-4243-966C-CCDE4224B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7</c:v>
                </c:pt>
                <c:pt idx="4">
                  <c:v>0.1407</c:v>
                </c:pt>
                <c:pt idx="5">
                  <c:v>0.1083</c:v>
                </c:pt>
              </c:numCache>
            </c:numRef>
          </c:xVal>
          <c:yVal>
            <c:numRef>
              <c:f>Sheet1!$B$2:$B$7</c:f>
              <c:numCache>
                <c:formatCode>General</c:formatCode>
                <c:ptCount val="6"/>
                <c:pt idx="0">
                  <c:v>0.4909</c:v>
                </c:pt>
                <c:pt idx="1">
                  <c:v>0.4936</c:v>
                </c:pt>
                <c:pt idx="2">
                  <c:v>0.4789</c:v>
                </c:pt>
                <c:pt idx="3">
                  <c:v>0.5158</c:v>
                </c:pt>
                <c:pt idx="4">
                  <c:v>0.012</c:v>
                </c:pt>
                <c:pt idx="5">
                  <c:v>-0.0022</c:v>
                </c:pt>
              </c:numCache>
            </c:numRef>
          </c:yVal>
          <c:bubbleSize>
            <c:numRef>
              <c:f>Sheet1!$C$2:$C$7</c:f>
              <c:numCache>
                <c:formatCode>General</c:formatCode>
                <c:ptCount val="6"/>
                <c:pt idx="0">
                  <c:v>272475.62769999995</c:v>
                </c:pt>
                <c:pt idx="1">
                  <c:v>119428.28789999997</c:v>
                </c:pt>
                <c:pt idx="2">
                  <c:v>106130.8149</c:v>
                </c:pt>
                <c:pt idx="3">
                  <c:v>125001.9619</c:v>
                </c:pt>
                <c:pt idx="4">
                  <c:v>114348.92439999997</c:v>
                </c:pt>
                <c:pt idx="5">
                  <c:v>174687.4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87864830785453"/>
        <c:crossBetween val="midCat"/>
      </c:valAx>
      <c:valAx>
        <c:axId val="1011451359"/>
        <c:scaling>
          <c:orientation val="minMax"/>
          <c:max val="0.9789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2957982933789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13170B4-2D92-4E52-9015-8BBD7ECDF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796B601-E601-4F1F-96AF-0386664EF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9EA35A1-90DF-4E7C-A2F1-F5A7B31FC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52ADB36-9CE0-420D-BF51-6DEC4E577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5166914-40DB-48BD-A5AD-4FD31ABB3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D5435B1-524C-442C-B53A-0327364D1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80613F4-A271-4D38-B23B-431575D96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FCCC5F2-D041-4AA6-98B2-3C0B8FA26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107</c:v>
                </c:pt>
                <c:pt idx="1">
                  <c:v>4.7177</c:v>
                </c:pt>
              </c:numCache>
            </c:numRef>
          </c:xVal>
          <c:yVal>
            <c:numRef>
              <c:f>Sheet1!$B$2:$B$3</c:f>
              <c:numCache>
                <c:formatCode>General</c:formatCode>
                <c:ptCount val="2"/>
                <c:pt idx="0">
                  <c:v>0.5272</c:v>
                </c:pt>
                <c:pt idx="1">
                  <c:v>0.372</c:v>
                </c:pt>
              </c:numCache>
            </c:numRef>
          </c:yVal>
          <c:bubbleSize>
            <c:numRef>
              <c:f>Sheet1!$C$2:$C$3</c:f>
              <c:numCache>
                <c:formatCode>General</c:formatCode>
                <c:ptCount val="2"/>
                <c:pt idx="0">
                  <c:v>180045.7285</c:v>
                </c:pt>
                <c:pt idx="1">
                  <c:v>1486.082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1.6085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59294788570142"/>
        <c:crossBetween val="midCat"/>
      </c:valAx>
      <c:valAx>
        <c:axId val="1011451359"/>
        <c:scaling>
          <c:orientation val="minMax"/>
          <c:max val="0.9926399999999999"/>
          <c:min val="0.0576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328604428741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6521DEF-570C-4E6F-8191-A2B27D7C5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1BD1382-BF58-443B-9336-834AA537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9AAE288-BF13-4A90-844E-39E0B11F9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481F77A-3CF0-4A2D-9D06-9AE1ABE52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9EDA1E8-EAEB-4A8C-869B-7991272DD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8C4C45B-0EA6-4202-A62F-4525F084F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2929640-88DA-4A5D-BBC1-C4210649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5FB37FE-225B-4872-AB23-FE454A439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0.8286</c:v>
                </c:pt>
                <c:pt idx="1">
                  <c:v>0.7997</c:v>
                </c:pt>
                <c:pt idx="2">
                  <c:v>0.8188</c:v>
                </c:pt>
                <c:pt idx="3">
                  <c:v>1.0221</c:v>
                </c:pt>
                <c:pt idx="4">
                  <c:v>0.9367</c:v>
                </c:pt>
                <c:pt idx="5">
                  <c:v>0.9698</c:v>
                </c:pt>
                <c:pt idx="6">
                  <c:v>0.351</c:v>
                </c:pt>
                <c:pt idx="7">
                  <c:v>1.0566</c:v>
                </c:pt>
              </c:numCache>
            </c:numRef>
          </c:xVal>
          <c:yVal>
            <c:numRef>
              <c:f>Sheet1!$B$2:$B$9</c:f>
              <c:numCache>
                <c:formatCode>General</c:formatCode>
                <c:ptCount val="8"/>
                <c:pt idx="0">
                  <c:v>0.3363</c:v>
                </c:pt>
                <c:pt idx="1">
                  <c:v>0.5237</c:v>
                </c:pt>
                <c:pt idx="2">
                  <c:v>0.4895</c:v>
                </c:pt>
                <c:pt idx="3">
                  <c:v>0.6217</c:v>
                </c:pt>
                <c:pt idx="4">
                  <c:v>0.6295</c:v>
                </c:pt>
                <c:pt idx="5">
                  <c:v>0.6514</c:v>
                </c:pt>
                <c:pt idx="6">
                  <c:v>0.7677</c:v>
                </c:pt>
                <c:pt idx="7">
                  <c:v>0.6351</c:v>
                </c:pt>
              </c:numCache>
            </c:numRef>
          </c:yVal>
          <c:bubbleSize>
            <c:numRef>
              <c:f>Sheet1!$C$2:$C$9</c:f>
              <c:numCache>
                <c:formatCode>General</c:formatCode>
                <c:ptCount val="8"/>
                <c:pt idx="0">
                  <c:v>836275.5084</c:v>
                </c:pt>
                <c:pt idx="1">
                  <c:v>1682330.8057000001</c:v>
                </c:pt>
                <c:pt idx="2">
                  <c:v>265583.5182</c:v>
                </c:pt>
                <c:pt idx="3">
                  <c:v>2189858.2104</c:v>
                </c:pt>
                <c:pt idx="4">
                  <c:v>336996.18600000005</c:v>
                </c:pt>
                <c:pt idx="5">
                  <c:v>2631441.1776000005</c:v>
                </c:pt>
                <c:pt idx="6">
                  <c:v>2717686.2454</c:v>
                </c:pt>
                <c:pt idx="7">
                  <c:v>302112.829200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792"/>
          <c:min val="0.2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256190085677902"/>
        <c:crossBetween val="midCat"/>
      </c:valAx>
      <c:valAx>
        <c:axId val="1011451359"/>
        <c:scaling>
          <c:orientation val="minMax"/>
          <c:max val="1.2812400000000002"/>
          <c:min val="0.02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79609766195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02E7159-6862-4736-8758-05C665B06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EFD1159-AA2C-458C-82A6-1F9976720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4CFC08A-0D0F-4947-8952-D24AB4BA3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060AC7C-37B9-4C17-929F-B7F851AFE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310AB99-0E43-457A-BDB0-1545B4589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C166256-2234-41F7-81AC-F48D6ACD2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FAA1AC1-F7EA-4B65-955D-47FFFDAB4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BAFEAFF-E957-4BAA-BE75-6162AABDD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9444</c:v>
                </c:pt>
                <c:pt idx="1">
                  <c:v>0.7653</c:v>
                </c:pt>
                <c:pt idx="2">
                  <c:v>0.4494</c:v>
                </c:pt>
                <c:pt idx="3">
                  <c:v>0.4128</c:v>
                </c:pt>
                <c:pt idx="4">
                  <c:v>0.1407</c:v>
                </c:pt>
                <c:pt idx="5">
                  <c:v>0.1083</c:v>
                </c:pt>
              </c:numCache>
            </c:numRef>
          </c:xVal>
          <c:yVal>
            <c:numRef>
              <c:f>Sheet1!$B$2:$B$7</c:f>
              <c:numCache>
                <c:formatCode>General</c:formatCode>
                <c:ptCount val="6"/>
                <c:pt idx="0">
                  <c:v>0.4911</c:v>
                </c:pt>
                <c:pt idx="1">
                  <c:v>0.4934</c:v>
                </c:pt>
                <c:pt idx="2">
                  <c:v>0.4798</c:v>
                </c:pt>
                <c:pt idx="3">
                  <c:v>0.5166</c:v>
                </c:pt>
                <c:pt idx="4">
                  <c:v>0.0104</c:v>
                </c:pt>
                <c:pt idx="5">
                  <c:v>-0.0026</c:v>
                </c:pt>
              </c:numCache>
            </c:numRef>
          </c:yVal>
          <c:bubbleSize>
            <c:numRef>
              <c:f>Sheet1!$C$2:$C$7</c:f>
              <c:numCache>
                <c:formatCode>General</c:formatCode>
                <c:ptCount val="6"/>
                <c:pt idx="0">
                  <c:v>3936071.3594</c:v>
                </c:pt>
                <c:pt idx="1">
                  <c:v>1549808.4677999998</c:v>
                </c:pt>
                <c:pt idx="2">
                  <c:v>1407622.4700999998</c:v>
                </c:pt>
                <c:pt idx="3">
                  <c:v>1730514.1759000001</c:v>
                </c:pt>
                <c:pt idx="4">
                  <c:v>1029392.1368000001</c:v>
                </c:pt>
                <c:pt idx="5">
                  <c:v>1937934.2558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328"/>
          <c:min val="0.086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86119999781863"/>
        <c:crossBetween val="midCat"/>
      </c:valAx>
      <c:valAx>
        <c:axId val="1011451359"/>
        <c:scaling>
          <c:orientation val="minMax"/>
          <c:max val="0.9799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9817477760736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407B88C-DD58-4D94-8F8B-86F6060CC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EB52A9D-FE8A-4B9E-98B9-E83AA04F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ABB6CBD-5EE8-4D11-9B8D-0E052338C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931BD8D-B0C6-41C1-936B-2DE08D3F7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1B503B-4E9C-4EF2-97F1-C6375B13A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E2FAEC6-AE5B-41EB-8FDD-690DF8224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8AF375F-5508-47F9-991B-B497FD276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F527A45-51FA-4E1E-8D37-6FA321027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298</c:v>
                </c:pt>
                <c:pt idx="1">
                  <c:v>4.7177</c:v>
                </c:pt>
                <c:pt idx="2">
                  <c:v>1.5005</c:v>
                </c:pt>
                <c:pt idx="3">
                  <c:v>2.0185</c:v>
                </c:pt>
              </c:numCache>
            </c:numRef>
          </c:xVal>
          <c:yVal>
            <c:numRef>
              <c:f>Sheet1!$B$2:$B$5</c:f>
              <c:numCache>
                <c:formatCode>General</c:formatCode>
                <c:ptCount val="4"/>
                <c:pt idx="0">
                  <c:v>0.2544</c:v>
                </c:pt>
                <c:pt idx="1">
                  <c:v>0.372</c:v>
                </c:pt>
                <c:pt idx="2">
                  <c:v>0.6039</c:v>
                </c:pt>
                <c:pt idx="3">
                  <c:v>0.5305</c:v>
                </c:pt>
              </c:numCache>
            </c:numRef>
          </c:yVal>
          <c:bubbleSize>
            <c:numRef>
              <c:f>Sheet1!$C$2:$C$5</c:f>
              <c:numCache>
                <c:formatCode>General</c:formatCode>
                <c:ptCount val="4"/>
                <c:pt idx="0">
                  <c:v>3101.6832999999997</c:v>
                </c:pt>
                <c:pt idx="1">
                  <c:v>1486.0825</c:v>
                </c:pt>
                <c:pt idx="2">
                  <c:v>3205.0188000000003</c:v>
                </c:pt>
                <c:pt idx="3">
                  <c:v>173389.465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61239999999999"/>
          <c:min val="1.200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57717749446122"/>
        <c:crossBetween val="midCat"/>
      </c:valAx>
      <c:valAx>
        <c:axId val="1011451359"/>
        <c:scaling>
          <c:orientation val="minMax"/>
          <c:max val="1.0846799999999999"/>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35093346323450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687CEFB-6028-4810-B430-C988EE7F2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57C74E8-11F1-4F52-B86C-25DE4DAFA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0A3737F-8825-4575-A1B5-F20875DB3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83F85CF-DB07-4441-8971-1715EA90D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B44FF50-4A5D-48B9-A3A3-E51EABBC2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985B132-0F89-4E70-A3EF-F71C54188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52CDCC-34BF-40DD-A13F-E6BE1F203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F4C96F5-4476-45D7-8B53-8A4A2F184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6</c:v>
                </c:pt>
              </c:numCache>
            </c:numRef>
          </c:xVal>
          <c:yVal>
            <c:numRef>
              <c:f>Sheet1!$B$2:$B$2</c:f>
              <c:numCache>
                <c:formatCode>General</c:formatCode>
                <c:ptCount val="1"/>
                <c:pt idx="0">
                  <c:v>0.4195</c:v>
                </c:pt>
              </c:numCache>
            </c:numRef>
          </c:yVal>
          <c:bubbleSize>
            <c:numRef>
              <c:f>Sheet1!$C$2:$C$2</c:f>
              <c:numCache>
                <c:formatCode>General</c:formatCode>
                <c:ptCount val="1"/>
                <c:pt idx="0">
                  <c:v>78650.0928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3199999999997"/>
          <c:min val="1.7268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5"/>
        <c:crossBetween val="midCat"/>
      </c:valAx>
      <c:valAx>
        <c:axId val="1011451359"/>
        <c:scaling>
          <c:orientation val="minMax"/>
          <c:max val="0.8634000000000001"/>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4A9E1FB-0823-489C-BD65-4895CF4EF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8980C27-7B44-4F0F-9D83-A8C2587E5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AFF988C-32C3-4153-A645-AB2CDB672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0739921-63CA-4FED-81E8-AB9FF185A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E60FFF4-CB53-4FA8-B0DA-45ABB0AE7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C4E1395-6438-434D-BAAD-64C3B60CE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9628355-0EA3-43C5-B0AC-E1BAE9443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58A585B-716D-4D10-A3D6-DAF6B33A3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94</c:v>
                </c:pt>
                <c:pt idx="1">
                  <c:v>2.233</c:v>
                </c:pt>
                <c:pt idx="2">
                  <c:v>4.7265</c:v>
                </c:pt>
                <c:pt idx="3">
                  <c:v>1.508</c:v>
                </c:pt>
                <c:pt idx="4">
                  <c:v>2.0187</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2069.6072</c:v>
                </c:pt>
                <c:pt idx="1">
                  <c:v>1055523.5942</c:v>
                </c:pt>
                <c:pt idx="2">
                  <c:v>55007.155300000006</c:v>
                </c:pt>
                <c:pt idx="3">
                  <c:v>72621.1476</c:v>
                </c:pt>
                <c:pt idx="4">
                  <c:v>2189444.76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799999999999"/>
          <c:min val="1.206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431727414468928"/>
        <c:crossBetween val="midCat"/>
      </c:valAx>
      <c:valAx>
        <c:axId val="1011451359"/>
        <c:scaling>
          <c:orientation val="minMax"/>
          <c:max val="1.0893599999999999"/>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1947711346976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EE405D7-1D17-4745-B967-B3F9D20F1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70B7BB4-89B6-4E98-B3D8-EC4763A2D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97529B1-E5E9-42B9-AE22-5145A6203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51AE54F-776F-40BD-AF09-9E86A2268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DCA8298-3941-4576-8A22-7F231E968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6A872C3-79BA-4142-9A1D-7E7E50412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6EB15C3-84B6-41F0-A0C8-D9B87A526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32E917D-BA16-4514-AA09-76F5B9B4F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2</c:v>
                </c:pt>
              </c:numCache>
            </c:numRef>
          </c:xVal>
          <c:yVal>
            <c:numRef>
              <c:f>Sheet1!$B$2:$B$2</c:f>
              <c:numCache>
                <c:formatCode>General</c:formatCode>
                <c:ptCount val="1"/>
                <c:pt idx="0">
                  <c:v>0.4198</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10399999999996"/>
          <c:min val="1.727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7336613-2ACD-4508-AB37-A53058662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800A82C-6E9D-410C-9B21-FF99CA355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FA19C83-72BD-4221-9E40-5A24EF9C9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F48EE5E-6213-4E66-AA78-ADEEBE201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63D70CB-C75F-4000-9F5B-EC8AE16F8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D8BB64F-4F78-4EDF-A83A-61F872172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6DDF2CD-C082-414E-A993-0BB8EB32F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63E72FF-341D-4297-9717-CF24F82B8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186</c:v>
                </c:pt>
              </c:numCache>
            </c:numRef>
          </c:xVal>
          <c:yVal>
            <c:numRef>
              <c:f>Sheet1!$B$2:$B$2</c:f>
              <c:numCache>
                <c:formatCode>General</c:formatCode>
                <c:ptCount val="1"/>
                <c:pt idx="0">
                  <c:v>0.5307</c:v>
                </c:pt>
              </c:numCache>
            </c:numRef>
          </c:yVal>
          <c:bubbleSize>
            <c:numRef>
              <c:f>Sheet1!$C$2:$C$2</c:f>
              <c:numCache>
                <c:formatCode>General</c:formatCode>
                <c:ptCount val="1"/>
                <c:pt idx="0">
                  <c:v>175947.76450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2232"/>
          <c:min val="1.6148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307"/>
        <c:crossBetween val="midCat"/>
      </c:valAx>
      <c:valAx>
        <c:axId val="1011451359"/>
        <c:scaling>
          <c:orientation val="minMax"/>
          <c:max val="0.99684"/>
          <c:min val="0.1845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01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7B34E10-DC8F-4704-9E3F-C66997CEE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C173746-BDC4-4BEE-BF2B-41CC763C6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D56CD6A-DAC9-4FE3-A2AF-46B2DFB55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6ADF1B2-87FC-4660-BA0E-946AABFB2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DB1692C-4160-44D6-A39C-8E6149A21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36F1BA6-3F7E-4286-9B00-AE887A9E4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DF81F4A-38C6-47AC-BBCB-E73618FFE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10288CF-A2A5-4B4B-A9D1-39C65393F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9</c:v>
                </c:pt>
              </c:numCache>
            </c:numRef>
          </c:xVal>
          <c:yVal>
            <c:numRef>
              <c:f>Sheet1!$B$2:$B$2</c:f>
              <c:numCache>
                <c:formatCode>General</c:formatCode>
                <c:ptCount val="1"/>
                <c:pt idx="0">
                  <c:v>0.4199</c:v>
                </c:pt>
              </c:numCache>
            </c:numRef>
          </c:yVal>
          <c:bubbleSize>
            <c:numRef>
              <c:f>Sheet1!$C$2:$C$2</c:f>
              <c:numCache>
                <c:formatCode>General</c:formatCode>
                <c:ptCount val="1"/>
                <c:pt idx="0">
                  <c:v>89489.1703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68"/>
          <c:min val="1.72712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9"/>
        <c:crossBetween val="midCat"/>
      </c:valAx>
      <c:valAx>
        <c:axId val="1011451359"/>
        <c:scaling>
          <c:orientation val="minMax"/>
          <c:max val="0.86388"/>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F03D472-2459-4248-A953-326DAB60F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40DBA32-1863-419A-AA28-223F787B6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22AD76F-855C-4967-9270-28690DFA1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7670A50-871D-44D7-BE72-8A1088265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CBE0BD9-59FD-44AE-9231-2680E15FC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8ADC6DB-2362-4BEF-BFAB-A6050B918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2BEA780-2F03-406B-9B88-85D6F595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9F8ED8A-01CA-47D0-B4AF-AA55AA237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938</c:v>
                </c:pt>
                <c:pt idx="1">
                  <c:v>2.233</c:v>
                </c:pt>
                <c:pt idx="2">
                  <c:v>4.7263</c:v>
                </c:pt>
                <c:pt idx="3">
                  <c:v>1.5077</c:v>
                </c:pt>
                <c:pt idx="4">
                  <c:v>2.0186</c:v>
                </c:pt>
              </c:numCache>
            </c:numRef>
          </c:xVal>
          <c:yVal>
            <c:numRef>
              <c:f>Sheet1!$B$2:$B$6</c:f>
              <c:numCache>
                <c:formatCode>General</c:formatCode>
                <c:ptCount val="5"/>
                <c:pt idx="0">
                  <c:v>0.6078</c:v>
                </c:pt>
                <c:pt idx="1">
                  <c:v>0.2544</c:v>
                </c:pt>
                <c:pt idx="2">
                  <c:v>0.3715</c:v>
                </c:pt>
                <c:pt idx="3">
                  <c:v>0.6037</c:v>
                </c:pt>
                <c:pt idx="4">
                  <c:v>0.5305</c:v>
                </c:pt>
              </c:numCache>
            </c:numRef>
          </c:yVal>
          <c:bubbleSize>
            <c:numRef>
              <c:f>Sheet1!$C$2:$C$6</c:f>
              <c:numCache>
                <c:formatCode>General</c:formatCode>
                <c:ptCount val="5"/>
                <c:pt idx="0">
                  <c:v>2502.780799999999</c:v>
                </c:pt>
                <c:pt idx="1">
                  <c:v>1058631.9766</c:v>
                </c:pt>
                <c:pt idx="2">
                  <c:v>56493.2378</c:v>
                </c:pt>
                <c:pt idx="3">
                  <c:v>75862.37519999998</c:v>
                </c:pt>
                <c:pt idx="4">
                  <c:v>2538781.9903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7156"/>
          <c:min val="1.20616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131925053678673"/>
        <c:crossBetween val="midCat"/>
      </c:valAx>
      <c:valAx>
        <c:axId val="1011451359"/>
        <c:scaling>
          <c:orientation val="minMax"/>
          <c:max val="1.0893599999999999"/>
          <c:min val="-0.03647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1066725203916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9310FC6-3E81-4606-8E62-5DC0F80D4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67CD074-3F88-43A9-B026-997B3CDE8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8D9FB2F-1243-416D-8ADE-85104D10B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02C8491-1D60-40CE-9D42-35A8722BF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C49B47C-F1D9-49B8-8966-EC5E22E68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C7AD05F-1A1C-4C97-BACC-22B7BE841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9ED3A06-1247-4AC8-8326-2CAB5C2EB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EC9A506-64B7-4E93-931B-6703F2A6E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1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9092"/>
          <c:min val="1.7272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66D436C-3A97-4230-9EA9-82D51135C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FBC05C3-9628-4B5E-85A1-86E212353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4281C79-67A5-49B9-9919-46AD0A20E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35F0DF7-D26B-4900-B6CC-479942E36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9E55EA1-74E0-4C04-97C4-5D79E9EF8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85F37F9-4F45-42D7-BEBC-60B66F958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39C9947-28BF-4094-939D-94EB5512B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0014784-70BE-403F-8D52-74D274B72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9211</c:v>
                </c:pt>
                <c:pt idx="1">
                  <c:v>3.4343</c:v>
                </c:pt>
              </c:numCache>
            </c:numRef>
          </c:xVal>
          <c:yVal>
            <c:numRef>
              <c:f>Sheet1!$B$2:$B$3</c:f>
              <c:numCache>
                <c:formatCode>General</c:formatCode>
                <c:ptCount val="2"/>
                <c:pt idx="0">
                  <c:v>0.6148</c:v>
                </c:pt>
                <c:pt idx="1">
                  <c:v>0.4855</c:v>
                </c:pt>
              </c:numCache>
            </c:numRef>
          </c:yVal>
          <c:bubbleSize>
            <c:numRef>
              <c:f>Sheet1!$C$2:$C$3</c:f>
              <c:numCache>
                <c:formatCode>General</c:formatCode>
                <c:ptCount val="2"/>
                <c:pt idx="0">
                  <c:v>20012430.214000005</c:v>
                </c:pt>
                <c:pt idx="1">
                  <c:v>82412.08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2116"/>
          <c:min val="0.73688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142697205071281"/>
        <c:crossBetween val="midCat"/>
      </c:valAx>
      <c:valAx>
        <c:axId val="1011451359"/>
        <c:scaling>
          <c:orientation val="minMax"/>
          <c:max val="1.09776"/>
          <c:min val="0.14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931407025688210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E594244-A2C7-4119-ACD0-53B92A0C7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D8FDE04-022E-497D-AF01-331151699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B9D7832-193F-4801-A98E-DD52DC5E4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97CBEBB-4E1F-4DF7-A3D8-1B707FF3F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2101E8C-C3B6-4BF3-B224-730C94EEE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493435E-E11A-4CD4-9925-162C19A7D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9A5C6F5-255F-446C-BFC2-735867016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51F4715-05D1-45E8-AB2B-B5F4B9E50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531</c:v>
                </c:pt>
                <c:pt idx="1">
                  <c:v>1.702</c:v>
                </c:pt>
                <c:pt idx="2">
                  <c:v>2.2102</c:v>
                </c:pt>
                <c:pt idx="3">
                  <c:v>1.1994</c:v>
                </c:pt>
                <c:pt idx="4">
                  <c:v>2.5646</c:v>
                </c:pt>
                <c:pt idx="5">
                  <c:v>1.6512</c:v>
                </c:pt>
              </c:numCache>
            </c:numRef>
          </c:xVal>
          <c:yVal>
            <c:numRef>
              <c:f>Sheet1!$B$2:$B$7</c:f>
              <c:numCache>
                <c:formatCode>General</c:formatCode>
                <c:ptCount val="6"/>
                <c:pt idx="0">
                  <c:v>0.797</c:v>
                </c:pt>
                <c:pt idx="1">
                  <c:v>0.6948</c:v>
                </c:pt>
                <c:pt idx="2">
                  <c:v>0.7136</c:v>
                </c:pt>
                <c:pt idx="3">
                  <c:v>0.7271</c:v>
                </c:pt>
                <c:pt idx="4">
                  <c:v>0.7947</c:v>
                </c:pt>
                <c:pt idx="5">
                  <c:v>0.6903</c:v>
                </c:pt>
              </c:numCache>
            </c:numRef>
          </c:yVal>
          <c:bubbleSize>
            <c:numRef>
              <c:f>Sheet1!$C$2:$C$7</c:f>
              <c:numCache>
                <c:formatCode>General</c:formatCode>
                <c:ptCount val="6"/>
                <c:pt idx="0">
                  <c:v>1764.1728</c:v>
                </c:pt>
                <c:pt idx="1">
                  <c:v>2654418.0468999995</c:v>
                </c:pt>
                <c:pt idx="2">
                  <c:v>28272.3697</c:v>
                </c:pt>
                <c:pt idx="3">
                  <c:v>72733.44779999998</c:v>
                </c:pt>
                <c:pt idx="4">
                  <c:v>8139.9552</c:v>
                </c:pt>
                <c:pt idx="5">
                  <c:v>3648181.744600001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7752"/>
          <c:min val="0.959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84435832078"/>
        <c:crossBetween val="midCat"/>
      </c:valAx>
      <c:valAx>
        <c:axId val="1011451359"/>
        <c:scaling>
          <c:orientation val="minMax"/>
          <c:max val="1.3164"/>
          <c:min val="0.31224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70972927376282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A047130-9E63-44B2-851E-B2BD69715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B147FBF-665B-4A95-90F4-2C614A8BC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A2DF22D-A6BD-4057-AA7D-132AA6060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315C5FC-B525-4717-8E50-C70A4C3A4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9FC01AB-7B93-499C-8329-106E060EA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0DC7CE2-FE2F-4547-A532-BF6D4E56B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DE51784-487D-4A91-82A1-B98341E6C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F818FC7-9697-4B02-9AB9-D37F0EBE0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16</c:v>
                </c:pt>
                <c:pt idx="1">
                  <c:v>0.9761</c:v>
                </c:pt>
                <c:pt idx="2">
                  <c:v>1.1417</c:v>
                </c:pt>
                <c:pt idx="3">
                  <c:v>1.275</c:v>
                </c:pt>
              </c:numCache>
            </c:numRef>
          </c:xVal>
          <c:yVal>
            <c:numRef>
              <c:f>Sheet1!$B$2:$B$5</c:f>
              <c:numCache>
                <c:formatCode>General</c:formatCode>
                <c:ptCount val="4"/>
                <c:pt idx="0">
                  <c:v>0.7386</c:v>
                </c:pt>
                <c:pt idx="1">
                  <c:v>0.6837</c:v>
                </c:pt>
                <c:pt idx="2">
                  <c:v>0.7091</c:v>
                </c:pt>
                <c:pt idx="3">
                  <c:v>0.7317</c:v>
                </c:pt>
              </c:numCache>
            </c:numRef>
          </c:yVal>
          <c:bubbleSize>
            <c:numRef>
              <c:f>Sheet1!$C$2:$C$5</c:f>
              <c:numCache>
                <c:formatCode>General</c:formatCode>
                <c:ptCount val="4"/>
                <c:pt idx="0">
                  <c:v>1094.5674000000001</c:v>
                </c:pt>
                <c:pt idx="1">
                  <c:v>423999.0885</c:v>
                </c:pt>
                <c:pt idx="2">
                  <c:v>1343734.6551</c:v>
                </c:pt>
                <c:pt idx="3">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9999999999998"/>
          <c:min val="0.7328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24399776706"/>
        <c:crossBetween val="midCat"/>
      </c:valAx>
      <c:valAx>
        <c:axId val="1011451359"/>
        <c:scaling>
          <c:orientation val="minMax"/>
          <c:max val="1.2463199999999999"/>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08506338246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3131910-BC58-42A9-8189-680615FC3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69A08CB-9F54-478C-B684-A08AFAA2B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63864A8-2BE4-4083-9B43-D41580D18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CC7745F-B25F-4891-84FF-C18FDF4C4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E11048-F4B7-4056-91A9-0D3208D12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D7F5D6F-BB3D-4828-8559-031425C8F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2359C04-C35A-4559-A721-937C7FC2A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04F4F00-27CC-4656-A33D-95F7C783F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027</c:v>
                </c:pt>
                <c:pt idx="1">
                  <c:v>1.1915</c:v>
                </c:pt>
                <c:pt idx="2">
                  <c:v>1.6533</c:v>
                </c:pt>
              </c:numCache>
            </c:numRef>
          </c:xVal>
          <c:yVal>
            <c:numRef>
              <c:f>Sheet1!$B$2:$B$4</c:f>
              <c:numCache>
                <c:formatCode>General</c:formatCode>
                <c:ptCount val="3"/>
                <c:pt idx="0">
                  <c:v>0.695</c:v>
                </c:pt>
                <c:pt idx="1">
                  <c:v>0.7269</c:v>
                </c:pt>
                <c:pt idx="2">
                  <c:v>0.6906</c:v>
                </c:pt>
              </c:numCache>
            </c:numRef>
          </c:yVal>
          <c:bubbleSize>
            <c:numRef>
              <c:f>Sheet1!$C$2:$C$4</c:f>
              <c:numCache>
                <c:formatCode>General</c:formatCode>
                <c:ptCount val="3"/>
                <c:pt idx="0">
                  <c:v>127660.91679999999</c:v>
                </c:pt>
                <c:pt idx="1">
                  <c:v>3367.1780999999996</c:v>
                </c:pt>
                <c:pt idx="2">
                  <c:v>244698.587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4324"/>
          <c:min val="0.953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4203035099855"/>
        <c:crossBetween val="midCat"/>
      </c:valAx>
      <c:valAx>
        <c:axId val="1011451359"/>
        <c:scaling>
          <c:orientation val="minMax"/>
          <c:max val="1.2322799999999998"/>
          <c:min val="0.31248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65946124602396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26B9B85-503F-4C82-BE70-721B5A1A4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B4E90CB-664E-4B1B-8491-22DA3657E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F7B0E91-8182-48CA-9EFD-63EDF1294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3C78EA9-8D93-47D5-B42D-0C6AF7F77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6A3341C-3497-46A2-A09B-499D1E4C5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D8E66C9-9451-430D-9E05-FD9D88F91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15B78E8-4064-4161-9B18-43E1288DA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894710C-4395-43DF-A42D-4E71936B1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5</c:v>
                </c:pt>
                <c:pt idx="1">
                  <c:v>1.1413</c:v>
                </c:pt>
                <c:pt idx="2">
                  <c:v>1.2749</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0082.322399999997</c:v>
                </c:pt>
                <c:pt idx="1">
                  <c:v>85603.14790000001</c:v>
                </c:pt>
                <c:pt idx="2">
                  <c:v>162101.853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88"/>
          <c:min val="0.78040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195375205523913"/>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130690871351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AA9413C-7BDE-47AC-BB27-78E5AA98B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A6D74D1-2F6B-4D8D-8E5A-778D07604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B3C9883-3B3C-4E43-8B98-67E1C6BEE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C9BF129-7B0E-4C8C-BDD3-C74E1C4AE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C6CBD9B-877A-4849-B614-7175394FB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2879ADC-9939-4600-82A5-89CFC8EB1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F63DCB7-9742-430D-AC52-65A04A288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A9FD834-D54D-4838-890B-580F82F00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443</c:v>
                </c:pt>
                <c:pt idx="1">
                  <c:v>2.5353</c:v>
                </c:pt>
                <c:pt idx="2">
                  <c:v>1.6498</c:v>
                </c:pt>
              </c:numCache>
            </c:numRef>
          </c:xVal>
          <c:yVal>
            <c:numRef>
              <c:f>Sheet1!$B$2:$B$4</c:f>
              <c:numCache>
                <c:formatCode>General</c:formatCode>
                <c:ptCount val="3"/>
                <c:pt idx="0">
                  <c:v>0.6969</c:v>
                </c:pt>
                <c:pt idx="1">
                  <c:v>0.7947</c:v>
                </c:pt>
                <c:pt idx="2">
                  <c:v>0.6902</c:v>
                </c:pt>
              </c:numCache>
            </c:numRef>
          </c:yVal>
          <c:bubbleSize>
            <c:numRef>
              <c:f>Sheet1!$C$2:$C$4</c:f>
              <c:numCache>
                <c:formatCode>General</c:formatCode>
                <c:ptCount val="3"/>
                <c:pt idx="0">
                  <c:v>1141.1115999999997</c:v>
                </c:pt>
                <c:pt idx="1">
                  <c:v>1341.184</c:v>
                </c:pt>
                <c:pt idx="2">
                  <c:v>278077.10880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4236"/>
          <c:min val="1.31544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07268017161503"/>
        <c:crossBetween val="midCat"/>
      </c:valAx>
      <c:valAx>
        <c:axId val="1011451359"/>
        <c:scaling>
          <c:orientation val="minMax"/>
          <c:max val="1.31364"/>
          <c:min val="0.31216000000000005"/>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5401066732988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B79237-D70C-4E0E-B862-3C09FD5B2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A42A29B-BCFB-463F-BD03-A8CA94EEA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941D50D-28EE-4351-A8BE-5BBD08A4E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75F737A-232F-423C-8524-8180A43E2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2E51608-564C-4E76-BAE2-8ECEE2244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354C454-07CF-4194-8166-AD3A9A706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176DEFF-9DA6-4C42-ACC6-8C92E2E78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40BB5A8-126F-4848-9230-026709AF8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8</c:v>
                </c:pt>
                <c:pt idx="1">
                  <c:v>1.1412</c:v>
                </c:pt>
                <c:pt idx="2">
                  <c:v>1.2748</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28301.748799999998</c:v>
                </c:pt>
                <c:pt idx="1">
                  <c:v>86297.40030000001</c:v>
                </c:pt>
                <c:pt idx="2">
                  <c:v>182797.47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7599999999998"/>
          <c:min val="0.780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6355656443939"/>
        <c:crossBetween val="midCat"/>
      </c:valAx>
      <c:valAx>
        <c:axId val="1011451359"/>
        <c:scaling>
          <c:orientation val="minMax"/>
          <c:max val="1.23816"/>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757813582804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B00E903-A445-4D35-AD8D-0894306D0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EA5232E-0E35-4B20-B7BD-FE461C8C5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7469BA6-14B5-440D-A9F9-E46B1F11E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0A20020-4705-4A05-BEA8-4570283FF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131C36-5967-47DC-9B51-89B68546B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EC1914-1748-42AC-B4F3-4EB77A733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4968567-1BB7-4CD0-8505-58318075C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2D4700-A513-4AF8-9F2B-0930C97EE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526</c:v>
                </c:pt>
                <c:pt idx="1">
                  <c:v>1.702</c:v>
                </c:pt>
                <c:pt idx="2">
                  <c:v>2.2174</c:v>
                </c:pt>
                <c:pt idx="3">
                  <c:v>1.1998</c:v>
                </c:pt>
                <c:pt idx="4">
                  <c:v>2.5738</c:v>
                </c:pt>
                <c:pt idx="5">
                  <c:v>1.6511</c:v>
                </c:pt>
              </c:numCache>
            </c:numRef>
          </c:xVal>
          <c:yVal>
            <c:numRef>
              <c:f>Sheet1!$B$2:$B$7</c:f>
              <c:numCache>
                <c:formatCode>General</c:formatCode>
                <c:ptCount val="6"/>
                <c:pt idx="0">
                  <c:v>0.797</c:v>
                </c:pt>
                <c:pt idx="1">
                  <c:v>0.6948</c:v>
                </c:pt>
                <c:pt idx="2">
                  <c:v>0.7142</c:v>
                </c:pt>
                <c:pt idx="3">
                  <c:v>0.7271</c:v>
                </c:pt>
                <c:pt idx="4">
                  <c:v>0.7947</c:v>
                </c:pt>
                <c:pt idx="5">
                  <c:v>0.6903</c:v>
                </c:pt>
              </c:numCache>
            </c:numRef>
          </c:yVal>
          <c:bubbleSize>
            <c:numRef>
              <c:f>Sheet1!$C$2:$C$7</c:f>
              <c:numCache>
                <c:formatCode>General</c:formatCode>
                <c:ptCount val="6"/>
                <c:pt idx="0">
                  <c:v>1733.2224</c:v>
                </c:pt>
                <c:pt idx="1">
                  <c:v>2525616.0185</c:v>
                </c:pt>
                <c:pt idx="2">
                  <c:v>27404.9312</c:v>
                </c:pt>
                <c:pt idx="3">
                  <c:v>69360.26759999999</c:v>
                </c:pt>
                <c:pt idx="4">
                  <c:v>6169.4464</c:v>
                </c:pt>
                <c:pt idx="5">
                  <c:v>3125406.048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0885599999999998"/>
          <c:min val="0.959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929759142686034"/>
        <c:crossBetween val="midCat"/>
      </c:valAx>
      <c:valAx>
        <c:axId val="1011451359"/>
        <c:scaling>
          <c:orientation val="minMax"/>
          <c:max val="1.3164"/>
          <c:min val="0.31224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7195345608767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A7FF731-7756-48D7-AEBF-A752A07C2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5E9A529-EBEB-4AC8-BF23-84BA35CCB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1DEC410-759B-434F-B672-A2F6E35C0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A5A132F-FFE5-4FA5-8924-F1584816D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6B64134-FBBE-4356-9B7E-8025E8594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616D5FC-7526-419E-8805-577AF3BD4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5A9296F-5788-4793-8231-480F9E2CF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B3C301C-7E01-4276-90C2-ED731C48F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62</c:v>
                </c:pt>
                <c:pt idx="1">
                  <c:v>1.1418</c:v>
                </c:pt>
                <c:pt idx="2">
                  <c:v>1.275</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65615.01729999995</c:v>
                </c:pt>
                <c:pt idx="1">
                  <c:v>1171834.1069</c:v>
                </c:pt>
                <c:pt idx="2">
                  <c:v>2266539.603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299999999999998"/>
          <c:min val="0.7809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45262543237"/>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24846044463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DB17C18-CFBA-4580-B379-EF58E1B2B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6F11CE0-360B-4D08-AD63-2FE5C9684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9588E6A-DA62-406D-98D3-65DD19AFC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6293947-0041-44C5-927A-C48B2A0C5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48DAEA9-35B8-45A6-9D9C-24D73F58A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8DA1D61-06AC-4007-9C29-A2076770C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360DA24-8C7F-4317-AEAB-830B348BE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CBDEC95-B7A7-4F02-ACCC-9FD74D444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7939</c:v>
                </c:pt>
                <c:pt idx="1">
                  <c:v>3.4343</c:v>
                </c:pt>
              </c:numCache>
            </c:numRef>
          </c:xVal>
          <c:yVal>
            <c:numRef>
              <c:f>Sheet1!$B$2:$B$3</c:f>
              <c:numCache>
                <c:formatCode>General</c:formatCode>
                <c:ptCount val="2"/>
                <c:pt idx="0">
                  <c:v>0.6017</c:v>
                </c:pt>
                <c:pt idx="1">
                  <c:v>0.4855</c:v>
                </c:pt>
              </c:numCache>
            </c:numRef>
          </c:yVal>
          <c:bubbleSize>
            <c:numRef>
              <c:f>Sheet1!$C$2:$C$3</c:f>
              <c:numCache>
                <c:formatCode>General</c:formatCode>
                <c:ptCount val="2"/>
                <c:pt idx="0">
                  <c:v>9049214.537299998</c:v>
                </c:pt>
                <c:pt idx="1">
                  <c:v>82412.086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12116"/>
          <c:min val="1.43512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006513057371026"/>
        <c:crossBetween val="midCat"/>
      </c:valAx>
      <c:valAx>
        <c:axId val="1011451359"/>
        <c:scaling>
          <c:orientation val="minMax"/>
          <c:max val="1.08204"/>
          <c:min val="0.14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0870445842389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4</c:v>
                </c:pt>
                <c:pt idx="1">
                  <c:v>3</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0</c:v>
                </c:pt>
                <c:pt idx="1">
                  <c:v>0.0</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5</c:v>
                </c:pt>
                <c:pt idx="1">
                  <c:v>2</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18270508795408702</c:v>
                </c:pt>
                <c:pt idx="1">
                  <c:v>0.027266825692528585</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3374</c:v>
                </c:pt>
                <c:pt idx="1">
                  <c:v>0.3086</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19</c:v>
                </c:pt>
                <c:pt idx="1">
                  <c:v>15</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4</c:f>
              <c:strCache>
                <c:ptCount val="3"/>
                <c:pt idx="0">
                  <c:v>Disposables</c:v>
                </c:pt>
                <c:pt idx="1">
                  <c:v>System</c:v>
                </c:pt>
                <c:pt idx="2">
                  <c:v/>
                </c:pt>
              </c:strCache>
            </c:strRef>
          </c:cat>
          <c:val>
            <c:numRef>
              <c:f>Sheet1!$B$2:$B$4</c:f>
              <c:numCache>
                <c:formatCode>General</c:formatCode>
                <c:ptCount val="3"/>
                <c:pt idx="0">
                  <c:v>0.001817072786188756</c:v>
                </c:pt>
                <c:pt idx="1">
                  <c:v>-0.004933677964746641</c:v>
                </c:pt>
                <c:pt idx="2">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0.4573</c:v>
                </c:pt>
                <c:pt idx="1">
                  <c:v>0.4356</c:v>
                </c:pt>
                <c:pt idx="2">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quot;$ &quot;#,##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Disposables</c:v>
                </c:pt>
                <c:pt idx="1">
                  <c:v>System</c:v>
                </c:pt>
                <c:pt idx="2">
                  <c:v/>
                </c:pt>
              </c:strCache>
            </c:strRef>
          </c:cat>
          <c:val>
            <c:numRef>
              <c:f>Sheet1!$B$2:$B$4</c:f>
              <c:numCache>
                <c:formatCode>General</c:formatCode>
                <c:ptCount val="3"/>
                <c:pt idx="0">
                  <c:v>25</c:v>
                </c:pt>
                <c:pt idx="1">
                  <c:v>10</c:v>
                </c:pt>
                <c:pt idx="2">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2/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3.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2.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1.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3.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5.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6.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9.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0.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1.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3.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5.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6.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7.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0.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1.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2.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5.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6.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7.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8.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1.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2.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3.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5.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7.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8.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9.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2.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3.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4.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6.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8.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9.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0.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3.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5.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6.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7.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9.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0.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1.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2.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3.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5.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6.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7.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8.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9.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chart" Target="../charts/chart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chart" Target="../charts/chart1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 Id="rId7" Type="http://schemas.openxmlformats.org/officeDocument/2006/relationships/chart" Target="../charts/chart125.xml"/><Relationship Id="rId8" Type="http://schemas.openxmlformats.org/officeDocument/2006/relationships/chart" Target="../charts/chart126.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 Id="rId7" Type="http://schemas.openxmlformats.org/officeDocument/2006/relationships/chart" Target="../charts/chart128.xml"/><Relationship Id="rId8" Type="http://schemas.openxmlformats.org/officeDocument/2006/relationships/chart" Target="../charts/chart129.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 Id="rId7" Type="http://schemas.openxmlformats.org/officeDocument/2006/relationships/chart" Target="../charts/chart131.xml"/><Relationship Id="rId8" Type="http://schemas.openxmlformats.org/officeDocument/2006/relationships/chart" Target="../charts/chart13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 Id="rId7" Type="http://schemas.openxmlformats.org/officeDocument/2006/relationships/chart" Target="../charts/chart137.xml"/><Relationship Id="rId8" Type="http://schemas.openxmlformats.org/officeDocument/2006/relationships/chart" Target="../charts/chart13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 Id="rId7" Type="http://schemas.openxmlformats.org/officeDocument/2006/relationships/chart" Target="../charts/chart140.xml"/><Relationship Id="rId8" Type="http://schemas.openxmlformats.org/officeDocument/2006/relationships/chart" Target="../charts/chart141.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xml"/><Relationship Id="rId7" Type="http://schemas.openxmlformats.org/officeDocument/2006/relationships/chart" Target="../charts/chart143.xml"/><Relationship Id="rId8" Type="http://schemas.openxmlformats.org/officeDocument/2006/relationships/chart" Target="../charts/chart144.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xml"/><Relationship Id="rId7" Type="http://schemas.openxmlformats.org/officeDocument/2006/relationships/chart" Target="../charts/chart149.xml"/><Relationship Id="rId8" Type="http://schemas.openxmlformats.org/officeDocument/2006/relationships/chart" Target="../charts/chart150.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 Id="rId7" Type="http://schemas.openxmlformats.org/officeDocument/2006/relationships/chart" Target="../charts/chart152.xml"/><Relationship Id="rId8" Type="http://schemas.openxmlformats.org/officeDocument/2006/relationships/chart" Target="../charts/chart153.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chart" Target="../charts/chart1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xml"/><Relationship Id="rId7" Type="http://schemas.openxmlformats.org/officeDocument/2006/relationships/chart" Target="../charts/chart155.xml"/><Relationship Id="rId8" Type="http://schemas.openxmlformats.org/officeDocument/2006/relationships/chart" Target="../charts/chart156.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xml"/><Relationship Id="rId7" Type="http://schemas.openxmlformats.org/officeDocument/2006/relationships/chart" Target="../charts/chart161.xml"/><Relationship Id="rId8" Type="http://schemas.openxmlformats.org/officeDocument/2006/relationships/chart" Target="../charts/chart16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 Id="rId7" Type="http://schemas.openxmlformats.org/officeDocument/2006/relationships/chart" Target="../charts/chart164.xml"/><Relationship Id="rId8" Type="http://schemas.openxmlformats.org/officeDocument/2006/relationships/chart" Target="../charts/chart165.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xml"/><Relationship Id="rId7" Type="http://schemas.openxmlformats.org/officeDocument/2006/relationships/chart" Target="../charts/chart173.xml"/><Relationship Id="rId8" Type="http://schemas.openxmlformats.org/officeDocument/2006/relationships/chart" Target="../charts/chart174.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 Id="rId7" Type="http://schemas.openxmlformats.org/officeDocument/2006/relationships/chart" Target="../charts/chart176.xml"/><Relationship Id="rId8" Type="http://schemas.openxmlformats.org/officeDocument/2006/relationships/chart" Target="../charts/chart17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xml"/><Relationship Id="rId7" Type="http://schemas.openxmlformats.org/officeDocument/2006/relationships/chart" Target="../charts/chart179.xml"/><Relationship Id="rId8" Type="http://schemas.openxmlformats.org/officeDocument/2006/relationships/chart" Target="../charts/chart180.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chart" Target="../charts/chart1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xml"/><Relationship Id="rId7" Type="http://schemas.openxmlformats.org/officeDocument/2006/relationships/chart" Target="../charts/chart185.xml"/><Relationship Id="rId8" Type="http://schemas.openxmlformats.org/officeDocument/2006/relationships/chart" Target="../charts/chart186.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 Id="rId7" Type="http://schemas.openxmlformats.org/officeDocument/2006/relationships/chart" Target="../charts/chart188.xml"/><Relationship Id="rId8" Type="http://schemas.openxmlformats.org/officeDocument/2006/relationships/chart" Target="../charts/chart189.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xml"/><Relationship Id="rId7" Type="http://schemas.openxmlformats.org/officeDocument/2006/relationships/chart" Target="../charts/chart191.xml"/><Relationship Id="rId8" Type="http://schemas.openxmlformats.org/officeDocument/2006/relationships/chart" Target="../charts/chart19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chart" Target="../charts/chart1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chart" Target="../charts/chart1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chart" Target="../charts/chart1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chart" Target="../charts/chart1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chart" Target="../charts/chart1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chart" Target="../charts/chart1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chart" Target="../charts/chart1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chart" Target="../charts/chart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chart" Target="../charts/chart2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chart" Target="../charts/chart2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chart" Target="../charts/chart2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chart" Target="../charts/chart2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chart" Target="../charts/chart2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chart" Target="../charts/chart2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chart" Target="../charts/chart2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chart" Target="../charts/chart2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chart" Target="../charts/chart2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chart" Target="../charts/chart2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chart" Target="../charts/chart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chart" Target="../charts/chart3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chart" Target="../charts/chart3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chart" Target="../charts/chart3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chart" Target="../charts/chart3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chart" Target="../charts/chart3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chart" Target="../charts/chart3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chart" Target="../charts/chart3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chart" Target="../charts/chart3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3.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4.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5.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6.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7.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8.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09.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0.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1.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2.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chart" Target="../charts/chart3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3.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4.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5.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6.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7.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8.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19.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0.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1.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2.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chart" Target="../charts/chart3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3.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4.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5.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6.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7.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8.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29.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0.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1.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chart" Target="../charts/chart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chart" Target="../charts/chart4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3.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4.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5.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6.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7.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8.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39.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0.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1.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2.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chart" Target="../charts/chart4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3.xml"/></Relationships>
</file>

<file path=ppt/slides/_rels/slide411.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4.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5.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6.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7.xml"/></Relationships>
</file>

<file path=ppt/slides/_rels/slide415.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8.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49.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0.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1.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chart" Target="../charts/chart4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3.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4.xml"/></Relationships>
</file>

<file path=ppt/slides/_rels/slide422.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5.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notesSlide" Target="../notesSlides/notesSlide26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6.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7.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8.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59.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0.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1.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chart" Target="../charts/chart4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3.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4.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5.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6.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notesSlide" Target="../notesSlides/notesSlide27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7.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8.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69.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0.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1.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2.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chart" Target="../charts/chart4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3.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4.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5.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6.xml"/></Relationships>
</file>

<file path=ppt/slides/_rels/slide444.xml.rels><?xml version='1.0' encoding='UTF-8' standalone='yes'?>
<Relationships xmlns="http://schemas.openxmlformats.org/package/2006/relationships"><Relationship Id="rId1" Type="http://schemas.openxmlformats.org/officeDocument/2006/relationships/tags" Target="../tags/tag471.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7.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notesSlide" Target="../notesSlides/notesSlide29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8.xml"/></Relationships>
</file>

<file path=ppt/slides/_rels/slide446.xml.rels><?xml version='1.0' encoding='UTF-8' standalone='yes'?>
<Relationships xmlns="http://schemas.openxmlformats.org/package/2006/relationships"><Relationship Id="rId1" Type="http://schemas.openxmlformats.org/officeDocument/2006/relationships/tags" Target="../tags/tag473.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79.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0.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1.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2.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chart" Target="../charts/chart4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3.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4.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5.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6.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7.xml"/></Relationships>
</file>

<file path=ppt/slides/_rels/slide455.xml.rels><?xml version='1.0' encoding='UTF-8' standalone='yes'?>
<Relationships xmlns="http://schemas.openxmlformats.org/package/2006/relationships"><Relationship Id="rId1" Type="http://schemas.openxmlformats.org/officeDocument/2006/relationships/tags" Target="../tags/tag482.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8.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89.xml"/></Relationships>
</file>

<file path=ppt/slides/_rels/slide457.xml.rels><?xml version='1.0' encoding='UTF-8' standalone='yes'?>
<Relationships xmlns="http://schemas.openxmlformats.org/package/2006/relationships"><Relationship Id="rId1" Type="http://schemas.openxmlformats.org/officeDocument/2006/relationships/tags" Target="../tags/tag484.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0.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1.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notesSlide" Target="../notesSlides/notesSlide30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2.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chart" Target="../charts/chart4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93.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chart" Target="../charts/chart4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1" Type="http://schemas.openxmlformats.org/officeDocument/2006/relationships/tags" Target="../tags/tag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chart" Target="../charts/chart4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chart" Target="../charts/chart4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chart" Target="../charts/chart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chart" Target="../charts/chart5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chart" Target="../charts/chart5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chart" Target="../charts/chart5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chart" Target="../charts/chart5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chart" Target="../charts/chart5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chart" Target="../charts/chart5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chart" Target="../charts/chart5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chart" Target="../charts/chart5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chart" Target="../charts/chart5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chart" Target="../charts/chart5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chart" Target="../charts/chart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chart" Target="../charts/chart6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chart" Target="../charts/chart6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chart" Target="../charts/chart6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chart" Target="../charts/chart6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chart" Target="../charts/chart6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chart" Target="../charts/chart6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chart" Target="../charts/chart6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chart" Target="../charts/chart6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chart" Target="../charts/chart6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chart" Target="../charts/chart6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chart" Target="../charts/chart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chart" Target="../charts/chart7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chart" Target="../charts/chart7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chart" Target="../charts/chart7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chart" Target="../charts/chart7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chart" Target="../charts/chart7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chart" Target="../charts/chart7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chart" Target="../charts/chart7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chart" Target="../charts/chart7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chart" Target="../charts/chart7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chart" Target="../charts/chart7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chart" Target="../charts/chart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chart" Target="../charts/chart8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chart" Target="../charts/chart8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chart" Target="../charts/chart8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chart" Target="../charts/chart8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chart" Target="../charts/chart8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chart" Target="../charts/chart8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chart" Target="../charts/chart8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chart" Target="../charts/chart8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 Id="rId7" Type="http://schemas.openxmlformats.org/officeDocument/2006/relationships/chart" Target="../charts/chart89.xml"/><Relationship Id="rId8" Type="http://schemas.openxmlformats.org/officeDocument/2006/relationships/chart" Target="../charts/chart90.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 Id="rId7" Type="http://schemas.openxmlformats.org/officeDocument/2006/relationships/chart" Target="../charts/chart92.xml"/><Relationship Id="rId8" Type="http://schemas.openxmlformats.org/officeDocument/2006/relationships/chart" Target="../charts/chart93.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chart" Target="../charts/chart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 Id="rId7" Type="http://schemas.openxmlformats.org/officeDocument/2006/relationships/chart" Target="../charts/chart95.xml"/><Relationship Id="rId8" Type="http://schemas.openxmlformats.org/officeDocument/2006/relationships/chart" Target="../charts/chart96.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 Id="rId7" Type="http://schemas.openxmlformats.org/officeDocument/2006/relationships/chart" Target="../charts/chart104.xml"/><Relationship Id="rId8" Type="http://schemas.openxmlformats.org/officeDocument/2006/relationships/chart" Target="../charts/chart105.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 Id="rId7" Type="http://schemas.openxmlformats.org/officeDocument/2006/relationships/chart" Target="../charts/chart107.xml"/><Relationship Id="rId8" Type="http://schemas.openxmlformats.org/officeDocument/2006/relationships/chart" Target="../charts/chart108.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 Id="rId7" Type="http://schemas.openxmlformats.org/officeDocument/2006/relationships/chart" Target="../charts/chart113.xml"/><Relationship Id="rId8" Type="http://schemas.openxmlformats.org/officeDocument/2006/relationships/chart" Target="../charts/chart114.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 Id="rId8" Type="http://schemas.openxmlformats.org/officeDocument/2006/relationships/chart" Target="../charts/chart11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 Id="rId7" Type="http://schemas.openxmlformats.org/officeDocument/2006/relationships/chart" Target="../charts/chart119.xml"/><Relationship Id="rId8" Type="http://schemas.openxmlformats.org/officeDocument/2006/relationships/chart" Target="../charts/chart120.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45752" y="1387069"/>
            <a:ext cx="4481887" cy="150994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7010"/>
            <a:ext cx="268764" cy="146469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45752" y="2897010"/>
            <a:ext cx="4481887" cy="14646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8764" cy="15099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701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4074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55526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116980" y="1387069"/>
            <a:ext cx="4210659" cy="16012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8339"/>
            <a:ext cx="539992" cy="13733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116980" y="2988339"/>
            <a:ext cx="4210659" cy="13733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539992" cy="16012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8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67863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8471176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3619797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3080330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756186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2680575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230304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3543727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688110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8347190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366725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76114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78689" y="1387069"/>
            <a:ext cx="3548950" cy="17268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879"/>
            <a:ext cx="1201701" cy="12478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78689" y="3113879"/>
            <a:ext cx="3548950" cy="12478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01701" cy="17268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8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403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8453818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805168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043133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182378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079924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3194518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6761387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0231072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3425117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281243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South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22253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93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6459"/>
            <a:ext cx="2375325" cy="12752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6459"/>
            <a:ext cx="2375326" cy="12752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93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64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074765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3044145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9469745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Edgewell Personal Care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596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5969">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596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596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596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8336884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Men | Pbg | Walmart 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4615039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341294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797320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070852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9432652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1402486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12531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43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1450"/>
            <a:ext cx="2375325" cy="12802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1450"/>
            <a:ext cx="2375326" cy="12802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43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14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3778224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114827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5755524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5603841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2038244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3231841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9605741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381698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97665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2828098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752385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684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3910"/>
            <a:ext cx="2375325" cy="127779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3910"/>
            <a:ext cx="2375326" cy="12777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68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391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3305687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426114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6481009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980983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0373179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679022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0330816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28788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017667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293444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72372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64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559"/>
            <a:ext cx="2375325" cy="12481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13559"/>
            <a:ext cx="2375326" cy="12481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64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4227096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669169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6980122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198587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0973065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704680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5588073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0758075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847373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7098260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11909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796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5037"/>
            <a:ext cx="2375325" cy="127667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85037"/>
            <a:ext cx="2375326" cy="1276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79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50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5183033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2695118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901926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9156292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3104873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854619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5604607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Manual Shave 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8464828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7965978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915727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Manual Shave 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27271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606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7"/>
            <a:ext cx="2375325" cy="125857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3137"/>
            <a:ext cx="2375326" cy="12585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60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1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366912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0848505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3239464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Manual Shave 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4105834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2335187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Manual Shave 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564704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335216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826787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System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5917688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5230972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System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427515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59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055"/>
            <a:ext cx="2375325" cy="12586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3055"/>
            <a:ext cx="2375326" cy="12586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59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0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4184185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6830724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8212567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System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8250317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2882175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4124240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System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300635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0899934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Disposable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800334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6393574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Disposable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96577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75325"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06"/>
            <a:ext cx="2375326"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9271985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5573637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Disposable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5771101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2 SENSITIV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GREEN 3 BLADE DISPOSABLE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BLACK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XTREME 3 SENSITIVE GREEN HOLIDAY GIFT PACK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6239185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Disposable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SPEED 3 SENSITIVE GREEN 3 BLADE DISPOSABLE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3 3 BLADE DISPOSABLE NORMAL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TB (TWIN BLADE) BLUE 2 BLADE DISPOSABLE NORMAL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8591389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016691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8687883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azor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5550545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281385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710246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azor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422252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36876" y="1387069"/>
            <a:ext cx="4090763" cy="15293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389"/>
            <a:ext cx="659888" cy="14453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36876" y="2916389"/>
            <a:ext cx="4090763" cy="14453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659888" cy="15293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3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7985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4721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9079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7862"/>
            <a:ext cx="2375325" cy="128384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77862"/>
            <a:ext cx="2375326" cy="12838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907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78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127161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6259435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azor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0149531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AZOR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AZOR SENSITIVE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3457153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5511598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azor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AZOR NORMAL 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908185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7794481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8985578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efills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CALIBER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0804070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8069892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efills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855503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6883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69"/>
            <a:ext cx="2375325" cy="12863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75369"/>
            <a:ext cx="2375326" cy="12863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6883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46137815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7668730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efills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937042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Schick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6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3 SENSITIVE 3 BLADE REFILL SENSITIVE 5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SENSITIVE 5 BLADE REFILL SENSITIVE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5 DRY SKIN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0494343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Personal Care | Cremo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REMO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9934388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Pbg | Equate | Refills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4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12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EQUATE EASY FIT 5 5 BLADE REFILL NORMAL 8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0548989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Edgewell Personal Care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9143120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Pbg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952692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Edgewell Personal Care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8199731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Pbg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2005082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Edgewell Personal Care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4"/>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27328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22708" y="1387069"/>
            <a:ext cx="2304931" cy="175373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40801"/>
            <a:ext cx="2445720" cy="122090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22708" y="3140801"/>
            <a:ext cx="2304931" cy="122090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5720" cy="175373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408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8436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2688288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Pbg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7904119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Edgewell Personal Care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64"/>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6586759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Pbg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3"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255787">
                  <a:extLst>
                    <a:ext uri="{9D8B030D-6E8A-4147-A177-3AD203B41FA5}">
                      <a16:colId xmlns:a16="http://schemas.microsoft.com/office/drawing/2014/main" val="2214050810"/>
                    </a:ext>
                  </a:extLst>
                </a:gridCol>
                <a:gridCol w="1255787">
                  <a:extLst>
                    <a:ext uri="{9D8B030D-6E8A-4147-A177-3AD203B41FA5}">
                      <a16:colId xmlns:a16="http://schemas.microsoft.com/office/drawing/2014/main" val="704225536"/>
                    </a:ext>
                  </a:extLst>
                </a:gridCol>
                <a:gridCol w="1255787">
                  <a:extLst>
                    <a:ext uri="{9D8B030D-6E8A-4147-A177-3AD203B41FA5}">
                      <a16:colId xmlns:a16="http://schemas.microsoft.com/office/drawing/2014/main" val="1285391802"/>
                    </a:ext>
                  </a:extLst>
                </a:gridCol>
                <a:gridCol w="1255787">
                  <a:extLst>
                    <a:ext uri="{9D8B030D-6E8A-4147-A177-3AD203B41FA5}">
                      <a16:colId xmlns:a16="http://schemas.microsoft.com/office/drawing/2014/main" val="3180695831"/>
                    </a:ext>
                  </a:extLst>
                </a:gridCol>
                <a:gridCol w="1255787">
                  <a:extLst>
                    <a:ext uri="{9D8B030D-6E8A-4147-A177-3AD203B41FA5}">
                      <a16:colId xmlns:a16="http://schemas.microsoft.com/office/drawing/2014/main" val="3841440830"/>
                    </a:ext>
                  </a:extLst>
                </a:gridCol>
                <a:gridCol w="1255787">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3823371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Edgewell Personal Care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7224991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Pbg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69094">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569094">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569094">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569094">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7971876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Edgewell Personal Care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4"/>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8674727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Pbg | marke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Walmart Nort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Southea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W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Disposabl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9856264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5720441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7377040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868395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98046" y="1387069"/>
            <a:ext cx="2429593" cy="168920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6270"/>
            <a:ext cx="2321058" cy="128543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98046" y="3076270"/>
            <a:ext cx="2429593" cy="12854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21058" cy="16892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62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597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405154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5372233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4117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4521448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3337462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428490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9354141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259519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0024284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7875531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43208565"/>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546461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91245" y="1387069"/>
            <a:ext cx="2236394" cy="17404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7492"/>
            <a:ext cx="2514257" cy="12342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91245" y="3127492"/>
            <a:ext cx="2236394" cy="12342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14257" cy="17404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74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529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0344900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82122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5973165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82654402"/>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443318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3143331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1736200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5672779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8351942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0747832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41175">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19844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56575" y="1387069"/>
            <a:ext cx="2071064" cy="16843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1435"/>
            <a:ext cx="2679587" cy="12902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56575" y="3071435"/>
            <a:ext cx="2071064" cy="12902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79587" cy="16843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182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6042785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5068156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8046661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0.3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0.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9368627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5800812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5483454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1422621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North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1776678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1077584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Southea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7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541175">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541175">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541175">
                <a:tc rowSpan="2">
                  <a:txBody>
                    <a:bodyPr/>
                    <a:lstStyle/>
                    <a:p>
                      <a:pPr algn="l">
                        <a:defRPr sz="1000" b="0">
                          <a:latin typeface="Nexa Bold"/>
                        </a:defRPr>
                      </a:pPr>
                      <a:r>
                        <a:t>Personn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541175">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256829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553560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28605" y="1387069"/>
            <a:ext cx="2099034" cy="17427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9789"/>
            <a:ext cx="2651617" cy="12319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28605" y="3129789"/>
            <a:ext cx="2099034" cy="12319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51617" cy="17427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97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026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5601707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South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7355521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Edgewell Personal Care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05881">
                <a:tc rowSpan="2">
                  <a:txBody>
                    <a:bodyPr/>
                    <a:lstStyle/>
                    <a:p>
                      <a:pPr algn="l">
                        <a:defRPr sz="1000" b="0">
                          <a:latin typeface="Nexa Bold"/>
                        </a:defRPr>
                      </a:pPr>
                      <a:r>
                        <a:t>Edgewell Personal Care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405881">
                <a:tc rowSpan="2">
                  <a:txBody>
                    <a:bodyPr/>
                    <a:lstStyle/>
                    <a:p>
                      <a:pPr algn="l">
                        <a:defRPr sz="1000" b="0">
                          <a:latin typeface="Nexa Bold"/>
                        </a:defRPr>
                      </a:pPr>
                      <a:r>
                        <a:t>Schic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405881">
                <a:tc rowSpan="2">
                  <a:txBody>
                    <a:bodyPr/>
                    <a:lstStyle/>
                    <a:p>
                      <a:pPr algn="l">
                        <a:defRPr sz="1000" b="0">
                          <a:latin typeface="Nexa Bold"/>
                        </a:defRPr>
                      </a:pPr>
                      <a:r>
                        <a:t>Crem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405881">
                <a:tc rowSpan="2">
                  <a:txBody>
                    <a:bodyPr/>
                    <a:lstStyle/>
                    <a:p>
                      <a:pPr algn="l">
                        <a:defRPr sz="1000" b="0">
                          <a:latin typeface="Nexa Bold"/>
                        </a:defRPr>
                      </a:pPr>
                      <a:r>
                        <a:t>Edgewell Personal Care: 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40588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1550463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Pbg | Walmart W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Equ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Pbg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1820690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55429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527569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226677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288029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937603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269191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Edgewell Personal Care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13000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13337" y="1387069"/>
            <a:ext cx="2114302" cy="168881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882"/>
            <a:ext cx="2636349" cy="128582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13337" y="3075882"/>
            <a:ext cx="2114302" cy="12858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36349" cy="16888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8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749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0532266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Men | Pbg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3680760">
                  <a:extLst>
                    <a:ext uri="{9D8B030D-6E8A-4147-A177-3AD203B41FA5}">
                      <a16:colId xmlns:a16="http://schemas.microsoft.com/office/drawing/2014/main" val="2678984805"/>
                    </a:ext>
                  </a:extLst>
                </a:gridCol>
                <a:gridCol w="3680760">
                  <a:extLst>
                    <a:ext uri="{9D8B030D-6E8A-4147-A177-3AD203B41FA5}">
                      <a16:colId xmlns:a16="http://schemas.microsoft.com/office/drawing/2014/main" val="4077376227"/>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8487131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682416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982631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9452050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830354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236779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780464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Edgewell Personal Care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320989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Men | Pbg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290881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7916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61263" y="1387069"/>
            <a:ext cx="2266376" cy="18392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26341"/>
            <a:ext cx="2484275" cy="11353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61263" y="3226341"/>
            <a:ext cx="2266376" cy="11353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84275" cy="18392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263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229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9161858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844056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997424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242990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6242220"/>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759838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Manual Shave 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1125415"/>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Manual Shave 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952214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654601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1325104"/>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21129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3297" y="1387069"/>
            <a:ext cx="2374342" cy="17194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512"/>
            <a:ext cx="2376309" cy="12551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3297" y="3106512"/>
            <a:ext cx="2374342" cy="12551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6309" cy="17194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5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495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4882657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493551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548779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077057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ystem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9230084"/>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System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803475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5976200"/>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632451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119809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842506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0854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111660" y="1387069"/>
            <a:ext cx="4215979" cy="15885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5617"/>
            <a:ext cx="534672" cy="13860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111660" y="2975617"/>
            <a:ext cx="4215979" cy="13860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534672" cy="15885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56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6733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644154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90530" y="1387069"/>
            <a:ext cx="2337109" cy="168780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4872"/>
            <a:ext cx="2413542" cy="128683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90530" y="3074872"/>
            <a:ext cx="2337109" cy="12868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13542" cy="16878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Edgewell Personal Care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487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5218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2561181"/>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372127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Disposable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401567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Disposable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945859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9926350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2940283"/>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886908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637291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566940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190906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azor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969004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5490" y="1387069"/>
            <a:ext cx="2372149" cy="16882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39"/>
            <a:ext cx="2378502" cy="12863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5490" y="3075339"/>
            <a:ext cx="2372149" cy="12863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8502" cy="16882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71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1345849"/>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azor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922914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7891751"/>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875480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878844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132643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8464541"/>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779952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Refill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286136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Refills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038337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4460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6848" y="1387069"/>
            <a:ext cx="2890791" cy="16958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2917"/>
            <a:ext cx="1859860" cy="12787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6848" y="3082917"/>
            <a:ext cx="2890791" cy="12787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59860" cy="16958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29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9850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44689973"/>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3844856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010113"/>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8239044"/>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96588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776123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1978514"/>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061383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263572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623642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Manual Shave Me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189903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45576" y="1387069"/>
            <a:ext cx="3482063" cy="18916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8713"/>
            <a:ext cx="1268588" cy="10829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45576" y="3278713"/>
            <a:ext cx="3482063" cy="10829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68588" cy="18916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87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072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1152853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047338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37045968"/>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706719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4166311"/>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878479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385953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090481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486752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6132467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06538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68595" y="1387069"/>
            <a:ext cx="2859044" cy="16970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4131"/>
            <a:ext cx="1891607" cy="12775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68595" y="3084131"/>
            <a:ext cx="2859044" cy="12775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91607" cy="16970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41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302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5200160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8843873"/>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22951853"/>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020314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829068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216616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70611142"/>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1887142"/>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XTREME 2 SENSITIV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BLACK GREEN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HOLIDAY GIFT P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XTREME 3 SENSITIVE GREEN BLACK 3 BLADE DISPOSABLE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6350733"/>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Disposabl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CALIBER 5 5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3 3 BLADE DISPOSABLE NORMAL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SPEED 3 SENSITIVE GREEN 3 BLADE DISPOSABLE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TB (TWIN BLADE) BLUE 2 BLADE DISPOSABLE NORMAL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839825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94263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52172" y="1387069"/>
            <a:ext cx="3475467" cy="18891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6180"/>
            <a:ext cx="1275184" cy="10855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52172" y="3276180"/>
            <a:ext cx="3475467" cy="10855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75184" cy="18891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61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1382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9868543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6264245"/>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908930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754663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891625"/>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7458847"/>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206009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96630432"/>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GRAY HOLIDAY GIFT PACK 5 BLADE RAZOR SENSITIVE 3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AZOR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AZOR SENSITIVE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20605449"/>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710440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AZOR NORMAL 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75151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78643" y="1387069"/>
            <a:ext cx="3148996" cy="168539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2460"/>
            <a:ext cx="1601655" cy="128924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78643" y="3072460"/>
            <a:ext cx="3148996" cy="12892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01655" cy="16853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24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4030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10200569"/>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9759837"/>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78352441"/>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CALIBER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2192941"/>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94681411"/>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500180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0677824"/>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4988745"/>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Schick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5 SENSITIVE 5 BLADE REFILL SENSITIVE 6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3 SENSITIVE 3 BLADE REFILL SENSITIVE 5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SENSITIVE 5 BLADE REFILL SENSITIVE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5 DRY SKIN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6754392"/>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Personal Care | Cremo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O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155347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Pbg | Equate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EQUATE EASY FIT 5 5 BLADE REFILL NORMAL 4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8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QUATE EASY FIT 5 5 BLADE REFILL NORMAL 12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62514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48319" y="1387069"/>
            <a:ext cx="3479320" cy="19008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930"/>
            <a:ext cx="1271331" cy="10737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48319" y="3287930"/>
            <a:ext cx="3479320" cy="10737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71331" cy="19008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7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099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75588732"/>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14849524"/>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86340503"/>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2049701"/>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814525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49271938"/>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7222898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8939013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9026235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28035310"/>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9641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21017" y="1387069"/>
            <a:ext cx="3106622" cy="16909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7992"/>
            <a:ext cx="1644029" cy="12837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21017" y="3077992"/>
            <a:ext cx="3106622" cy="12837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44029" cy="16909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Edgewell Personal Care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79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8267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2512870"/>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429244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0038039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5989310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117741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708494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22199061"/>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19973754"/>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572684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6730563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6331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2027" y="1387069"/>
            <a:ext cx="3565612" cy="191419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268"/>
            <a:ext cx="1185039" cy="106044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2027" y="3301268"/>
            <a:ext cx="3565612" cy="10604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5039" cy="19141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12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2368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3486233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861794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53537588"/>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05451101"/>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310555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568920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9843190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806565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282856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99779846"/>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898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84738" y="1387069"/>
            <a:ext cx="3542901" cy="172602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091"/>
            <a:ext cx="1207750" cy="124861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84738" y="3113091"/>
            <a:ext cx="3542901" cy="12486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07750" cy="17260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0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463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22262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40779" y="1387069"/>
            <a:ext cx="3186860" cy="15930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0119"/>
            <a:ext cx="1563791" cy="13815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40779" y="2980119"/>
            <a:ext cx="3186860" cy="13815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63791" cy="15930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01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0243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4016250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988568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30569992"/>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8755331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8198297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8082649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71002641"/>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51106855"/>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1226159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2701137"/>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281069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3955" y="1387069"/>
            <a:ext cx="3973684" cy="19639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51031"/>
            <a:ext cx="776967" cy="10106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3955" y="3351031"/>
            <a:ext cx="3973684" cy="10106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6967" cy="19639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510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561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73136899"/>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8850431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13063895"/>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Manual Shave 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97027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350075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30745048"/>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Manual Shave 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8214061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60775053"/>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7495163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Manual Shave 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5601399"/>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81895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65124" y="1387069"/>
            <a:ext cx="3162515" cy="15945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1589"/>
            <a:ext cx="1588136" cy="13801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65124" y="2981589"/>
            <a:ext cx="3162515" cy="13801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88136" cy="15945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15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267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06013876"/>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Manual Shave 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8802373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3541317"/>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6217619"/>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System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45017175"/>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7614128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System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6975546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3984790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653599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System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7304310"/>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39616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6575" y="1387069"/>
            <a:ext cx="3971064" cy="19612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48358"/>
            <a:ext cx="779587" cy="10133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6575" y="3348358"/>
            <a:ext cx="3971064" cy="10133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9587" cy="19612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483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82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4725006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6037449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System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428619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4852058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Disposable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7127266"/>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93705674"/>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Disposable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05944485"/>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02532162"/>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Disposable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71800378"/>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72431036"/>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Disposable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92905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50125" y="1387069"/>
            <a:ext cx="3377514" cy="16033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0430"/>
            <a:ext cx="1373137" cy="13712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50125" y="2990430"/>
            <a:ext cx="3377514" cy="13712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73137" cy="16033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904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117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4221737"/>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7295173"/>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95649767"/>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azor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4610795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34857190"/>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76796006"/>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azor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84771586"/>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2949269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azor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617365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704800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372020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70728" y="1387069"/>
            <a:ext cx="3956911" cy="197591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2985"/>
            <a:ext cx="793740" cy="99872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70728" y="3362985"/>
            <a:ext cx="3956911" cy="9987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93740" cy="19759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62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3238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42674370"/>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azor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80603987"/>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930500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486405"/>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efills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9415928"/>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8938034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efills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5682620"/>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42570144"/>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efills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24923510"/>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Schick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40642141"/>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Personal Care | Cremo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396316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73914" y="1387069"/>
            <a:ext cx="3353725" cy="160094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88009"/>
            <a:ext cx="1396926" cy="137370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73914" y="2988009"/>
            <a:ext cx="3353725" cy="13737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96926" cy="16009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Edgewell Personal Care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880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355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9919433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Pbg | Equate | Refills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02887532"/>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225118683"/>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240515355"/>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4.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2087652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332988945"/>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23767775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192178542"/>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26780473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8.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5018243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2115262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04640" y="1387069"/>
            <a:ext cx="4022999" cy="19855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72665"/>
            <a:ext cx="727652" cy="9890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04640" y="3372665"/>
            <a:ext cx="4022999" cy="9890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27652" cy="19855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72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662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0517840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38649402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4.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54026561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64799505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693674703"/>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11120189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dgewell Personal Care | Manual Shave 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 Personal Care</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13167308"/>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Pbg | Manual Shave 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Pbg</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isposabl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8.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9314560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0096" y="1387069"/>
            <a:ext cx="3977543" cy="14312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18275"/>
            <a:ext cx="773108" cy="15434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0096" y="2818275"/>
            <a:ext cx="3977543" cy="15434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3108" cy="14312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182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175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178250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07043" y="1387069"/>
            <a:ext cx="3420596" cy="16114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8498"/>
            <a:ext cx="1330055" cy="13632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07043" y="2998498"/>
            <a:ext cx="3420596" cy="13632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30055" cy="16114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984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6870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58428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31795" y="1387069"/>
            <a:ext cx="4495844" cy="148021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7283"/>
            <a:ext cx="254807" cy="149442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31795" y="2867283"/>
            <a:ext cx="4495844" cy="149442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54807" cy="148021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72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3934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684511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43992" y="1387069"/>
            <a:ext cx="3883647" cy="154380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30872"/>
            <a:ext cx="867004" cy="143083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43992" y="2930872"/>
            <a:ext cx="3883647" cy="14308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67004" cy="15438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3087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056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098009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64315" y="1387069"/>
            <a:ext cx="3363324" cy="15773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4392"/>
            <a:ext cx="1387327" cy="13973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64315" y="2964392"/>
            <a:ext cx="3363324" cy="13973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87327" cy="15773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43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59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226234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32882" y="1387069"/>
            <a:ext cx="3894757" cy="15350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22165"/>
            <a:ext cx="855894" cy="14395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32882" y="2922165"/>
            <a:ext cx="3894757" cy="14395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55894" cy="15350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221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9453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561795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57719" y="1387069"/>
            <a:ext cx="3369920" cy="15903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7434"/>
            <a:ext cx="1380731" cy="13842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57719" y="2977434"/>
            <a:ext cx="3369920" cy="13842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80731" cy="15903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74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193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129070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86739" y="1387069"/>
            <a:ext cx="3240900" cy="17048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918"/>
            <a:ext cx="1509751" cy="12697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86739" y="3091918"/>
            <a:ext cx="3240900" cy="12697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09751" cy="17048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9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4839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567676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24785" y="1387069"/>
            <a:ext cx="3402854" cy="16207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07855"/>
            <a:ext cx="1347797" cy="13538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24785" y="3007855"/>
            <a:ext cx="3402854" cy="13538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47797" cy="16207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078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864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911903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61715" y="1387069"/>
            <a:ext cx="3865924" cy="157376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0829"/>
            <a:ext cx="884727" cy="140088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61715" y="2960829"/>
            <a:ext cx="3865924" cy="140088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4727" cy="157376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08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233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385689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30752" y="1387069"/>
            <a:ext cx="3096887" cy="15175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4634"/>
            <a:ext cx="1653764" cy="14570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30752" y="2904634"/>
            <a:ext cx="3096887" cy="14570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53764" cy="15175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46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924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795785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94938" y="1387069"/>
            <a:ext cx="3432701" cy="18036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90671"/>
            <a:ext cx="1317950" cy="117103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94938" y="3190671"/>
            <a:ext cx="3432701" cy="1171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17950" cy="1803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906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65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364570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75071" y="1387069"/>
            <a:ext cx="3052568" cy="15289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5969"/>
            <a:ext cx="1698083" cy="14457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75071" y="2915969"/>
            <a:ext cx="3052568" cy="14457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98083" cy="15289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59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67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9069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77380" y="1387069"/>
            <a:ext cx="4050259" cy="14917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8839"/>
            <a:ext cx="700392" cy="14828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77380" y="2878839"/>
            <a:ext cx="4050259" cy="14828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00392" cy="14917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88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83903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43013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17368" y="1387069"/>
            <a:ext cx="3910271" cy="139282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79896"/>
            <a:ext cx="840380" cy="158181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17368" y="2779896"/>
            <a:ext cx="3910271" cy="15818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40380" cy="13928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798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790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59833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36218" y="1387069"/>
            <a:ext cx="3091421" cy="15224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9507"/>
            <a:ext cx="1659230" cy="14522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36218" y="2909507"/>
            <a:ext cx="3091421" cy="14522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59230" cy="15224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9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978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36810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57343" y="1387069"/>
            <a:ext cx="3870296" cy="15663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53465"/>
            <a:ext cx="880355" cy="14082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57343" y="2953465"/>
            <a:ext cx="3870296" cy="14082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0355" cy="15663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534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1900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55445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14024" y="1387069"/>
            <a:ext cx="3013615" cy="15291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169"/>
            <a:ext cx="1737036" cy="14455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14024" y="2916169"/>
            <a:ext cx="3013615" cy="14455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37036" cy="15291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1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756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784634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0896" y="1387069"/>
            <a:ext cx="2316743" cy="15478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34957"/>
            <a:ext cx="2433908" cy="14267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0896" y="2934957"/>
            <a:ext cx="2316743" cy="14267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33908" cy="15478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349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255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1565013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52606" y="1387069"/>
            <a:ext cx="2575033" cy="14952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82350"/>
            <a:ext cx="2175618" cy="14793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52606" y="2882350"/>
            <a:ext cx="2575033" cy="14793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75618" cy="14952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823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142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351975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1181" y="1387069"/>
            <a:ext cx="2396458" cy="149291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9984"/>
            <a:ext cx="2354193" cy="148172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1181" y="2879984"/>
            <a:ext cx="2396458" cy="14817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4193" cy="14929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99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28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362956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97641" y="1387069"/>
            <a:ext cx="2629998" cy="15214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8500"/>
            <a:ext cx="2120653" cy="14532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97641" y="2908500"/>
            <a:ext cx="2629998" cy="14532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20653" cy="15214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85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5929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7310763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23407" y="1387069"/>
            <a:ext cx="2304232" cy="163999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27063"/>
            <a:ext cx="2446419" cy="133464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23407" y="3027063"/>
            <a:ext cx="2304232" cy="133464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6419" cy="163999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270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850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634359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87471" y="1387069"/>
            <a:ext cx="2740168" cy="15599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7038"/>
            <a:ext cx="2010483" cy="14146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87471" y="2947038"/>
            <a:ext cx="2740168" cy="14146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10483" cy="15599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70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91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73837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074363" y="1387069"/>
            <a:ext cx="4253276" cy="14847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1813"/>
            <a:ext cx="497375" cy="14898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074363" y="2871813"/>
            <a:ext cx="4253276" cy="14898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497375" cy="14847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18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6360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555571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6415" y="1387069"/>
            <a:ext cx="2311224" cy="155744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4517"/>
            <a:ext cx="2439427" cy="141719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6415" y="2944517"/>
            <a:ext cx="2311224" cy="14171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39427" cy="15574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45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80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973960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70108" y="1387069"/>
            <a:ext cx="2557531" cy="14880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5138"/>
            <a:ext cx="2193120" cy="14865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70108" y="2875138"/>
            <a:ext cx="2557531" cy="14865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93120" cy="14880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51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3176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084377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65909" y="1387069"/>
            <a:ext cx="3861730" cy="148288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9953"/>
            <a:ext cx="888921" cy="149175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65909" y="2869953"/>
            <a:ext cx="3861730" cy="14917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88921" cy="14828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99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2756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483588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7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43"/>
            <a:ext cx="2375325" cy="125486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43"/>
            <a:ext cx="2375326" cy="12548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905716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48392" y="1387069"/>
            <a:ext cx="3779247" cy="1707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4393"/>
            <a:ext cx="971404" cy="1267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48392" y="3094393"/>
            <a:ext cx="3779247" cy="12673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71404" cy="17073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43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100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203923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75325"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06"/>
            <a:ext cx="2375326"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430403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704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4114"/>
            <a:ext cx="2375325" cy="126759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4114"/>
            <a:ext cx="2375326" cy="12675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70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41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05570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794"/>
            <a:ext cx="2375325" cy="12549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794"/>
            <a:ext cx="2375326" cy="12549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7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030562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39275" y="1387069"/>
            <a:ext cx="3788364" cy="16858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2869"/>
            <a:ext cx="962287" cy="12888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39275" y="3072869"/>
            <a:ext cx="3788364" cy="12888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62287" cy="16858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28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009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5282197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75325"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6806"/>
            <a:ext cx="2375326"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42792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1850053" y="1387069"/>
            <a:ext cx="4477586" cy="15149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1994"/>
            <a:ext cx="273065" cy="14597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1850053" y="2901994"/>
            <a:ext cx="4477586" cy="14597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3065" cy="15149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19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41171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085747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72769" y="1387069"/>
            <a:ext cx="3154870" cy="18471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4238"/>
            <a:ext cx="1595781" cy="11274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72769" y="3234238"/>
            <a:ext cx="3154870" cy="11274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95781" cy="18471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42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3442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339733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91415" y="1387069"/>
            <a:ext cx="1936224" cy="166629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53361"/>
            <a:ext cx="2814427" cy="130834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91415" y="3053361"/>
            <a:ext cx="1936224" cy="13083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14427" cy="16662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533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30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246979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83303" y="1387069"/>
            <a:ext cx="1644336" cy="17459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32979"/>
            <a:ext cx="3106315" cy="12287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83303" y="3132979"/>
            <a:ext cx="1644336" cy="12287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106315" cy="17459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329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449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5931275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44946" y="1387069"/>
            <a:ext cx="2082693" cy="16565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3594"/>
            <a:ext cx="2667958" cy="13181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44946" y="3043594"/>
            <a:ext cx="2082693" cy="13181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67958" cy="16565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35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066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367740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08375" y="1387069"/>
            <a:ext cx="3819264" cy="18502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7273"/>
            <a:ext cx="931387" cy="11244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08375" y="3237273"/>
            <a:ext cx="3819264" cy="11244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31387" cy="18502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72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700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524466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84476" y="1387069"/>
            <a:ext cx="2043163" cy="16531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0257"/>
            <a:ext cx="2707488" cy="13214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84476" y="3040257"/>
            <a:ext cx="2043163" cy="13214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07488" cy="16531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02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613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9809067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66207" y="1387069"/>
            <a:ext cx="3161432" cy="184677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3848"/>
            <a:ext cx="1589219" cy="112786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66207" y="3233848"/>
            <a:ext cx="3161432" cy="11278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89219" cy="18467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Edgewell Personal Care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38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278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0355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267960" y="1387069"/>
            <a:ext cx="2059679" cy="16546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1719"/>
            <a:ext cx="2690972" cy="13199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267960" y="3041719"/>
            <a:ext cx="2059679" cy="13199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90972" cy="16546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17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296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408819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100043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North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81506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237726" y="1387069"/>
            <a:ext cx="4089913" cy="15337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20805"/>
            <a:ext cx="660738" cy="144090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237726" y="2920805"/>
            <a:ext cx="4089913" cy="14409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660738" cy="15337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Edgewell Personal Care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2080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79938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4598908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780128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8336716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6696947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Southw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4937672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2273246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842191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447712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Ea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7344274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Edgewell Personal Care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3176075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Men | Pbg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6615">
                <a:tc>
                  <a:txBody>
                    <a:bodyPr/>
                    <a:lstStyle/>
                    <a:p>
                      <a:pPr algn="ctr">
                        <a:defRPr sz="800">
                          <a:latin typeface="Nexa Book"/>
                        </a:defRPr>
                      </a:pPr>
                      <a:r>
                        <a:t>Disposabl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6615">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6615">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14711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2</TotalTime>
  <Words>145899</Words>
  <Application>Microsoft Office PowerPoint</Application>
  <PresentationFormat>On-screen Show (16:9)</PresentationFormat>
  <Paragraphs>54604</Paragraphs>
  <Slides>476</Slides>
  <Notes>30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76</vt:i4>
      </vt:variant>
    </vt:vector>
  </HeadingPairs>
  <TitlesOfParts>
    <vt:vector size="48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Sector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4</cp:revision>
  <dcterms:created xsi:type="dcterms:W3CDTF">2024-07-05T15:31:56Z</dcterms:created>
  <dcterms:modified xsi:type="dcterms:W3CDTF">2025-09-21T22:5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